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4.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5.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6.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70.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5248" r:id="rId2"/>
    <p:sldMasterId id="2147483695" r:id="rId3"/>
    <p:sldMasterId id="2147483700" r:id="rId4"/>
    <p:sldMasterId id="2147485300" r:id="rId5"/>
    <p:sldMasterId id="2147484230" r:id="rId6"/>
    <p:sldMasterId id="2147485316" r:id="rId7"/>
  </p:sldMasterIdLst>
  <p:notesMasterIdLst>
    <p:notesMasterId r:id="rId56"/>
  </p:notesMasterIdLst>
  <p:sldIdLst>
    <p:sldId id="257" r:id="rId8"/>
    <p:sldId id="261" r:id="rId9"/>
    <p:sldId id="374" r:id="rId10"/>
    <p:sldId id="2495" r:id="rId11"/>
    <p:sldId id="2496" r:id="rId12"/>
    <p:sldId id="2497" r:id="rId13"/>
    <p:sldId id="377" r:id="rId14"/>
    <p:sldId id="2499" r:id="rId15"/>
    <p:sldId id="258" r:id="rId16"/>
    <p:sldId id="259" r:id="rId17"/>
    <p:sldId id="260" r:id="rId18"/>
    <p:sldId id="2500" r:id="rId19"/>
    <p:sldId id="262" r:id="rId20"/>
    <p:sldId id="263" r:id="rId21"/>
    <p:sldId id="264" r:id="rId22"/>
    <p:sldId id="265" r:id="rId23"/>
    <p:sldId id="266" r:id="rId24"/>
    <p:sldId id="2501" r:id="rId25"/>
    <p:sldId id="268" r:id="rId26"/>
    <p:sldId id="269" r:id="rId27"/>
    <p:sldId id="2483" r:id="rId28"/>
    <p:sldId id="2484" r:id="rId29"/>
    <p:sldId id="2485" r:id="rId30"/>
    <p:sldId id="2486" r:id="rId31"/>
    <p:sldId id="2487" r:id="rId32"/>
    <p:sldId id="2468" r:id="rId33"/>
    <p:sldId id="2488" r:id="rId34"/>
    <p:sldId id="2473" r:id="rId35"/>
    <p:sldId id="2474" r:id="rId36"/>
    <p:sldId id="2489" r:id="rId37"/>
    <p:sldId id="2490" r:id="rId38"/>
    <p:sldId id="2491" r:id="rId39"/>
    <p:sldId id="376" r:id="rId40"/>
    <p:sldId id="2387" r:id="rId41"/>
    <p:sldId id="2381" r:id="rId42"/>
    <p:sldId id="2298" r:id="rId43"/>
    <p:sldId id="2384" r:id="rId44"/>
    <p:sldId id="2300" r:id="rId45"/>
    <p:sldId id="2333" r:id="rId46"/>
    <p:sldId id="267" r:id="rId47"/>
    <p:sldId id="2390" r:id="rId48"/>
    <p:sldId id="2350" r:id="rId49"/>
    <p:sldId id="281" r:id="rId50"/>
    <p:sldId id="287" r:id="rId51"/>
    <p:sldId id="2385" r:id="rId52"/>
    <p:sldId id="2389" r:id="rId53"/>
    <p:sldId id="2388" r:id="rId54"/>
    <p:sldId id="2482"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F4D848-7032-9D76-7799-25C9E0AC442B}" v="31" dt="2024-05-28T14:47:26.7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94710" autoAdjust="0"/>
  </p:normalViewPr>
  <p:slideViewPr>
    <p:cSldViewPr snapToGrid="0">
      <p:cViewPr varScale="1">
        <p:scale>
          <a:sx n="63" d="100"/>
          <a:sy n="63" d="100"/>
        </p:scale>
        <p:origin x="612"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5.xml"/><Relationship Id="rId61" Type="http://schemas.microsoft.com/office/2016/11/relationships/changesInfo" Target="changesInfos/changesInfo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94F4D848-7032-9D76-7799-25C9E0AC442B}"/>
    <pc:docChg chg="modSld">
      <pc:chgData name="Aleena Lida Surenian" userId="S::als0813@ads.northwestern.edu::e2fd0e4e-6417-49b0-ab16-0ba26a1719f0" providerId="AD" clId="Web-{94F4D848-7032-9D76-7799-25C9E0AC442B}" dt="2024-05-28T14:47:26.711" v="30"/>
      <pc:docMkLst>
        <pc:docMk/>
      </pc:docMkLst>
      <pc:sldChg chg="delSp">
        <pc:chgData name="Aleena Lida Surenian" userId="S::als0813@ads.northwestern.edu::e2fd0e4e-6417-49b0-ab16-0ba26a1719f0" providerId="AD" clId="Web-{94F4D848-7032-9D76-7799-25C9E0AC442B}" dt="2024-05-28T14:45:59.443" v="0"/>
        <pc:sldMkLst>
          <pc:docMk/>
          <pc:sldMk cId="735433055" sldId="257"/>
        </pc:sldMkLst>
        <pc:picChg chg="del">
          <ac:chgData name="Aleena Lida Surenian" userId="S::als0813@ads.northwestern.edu::e2fd0e4e-6417-49b0-ab16-0ba26a1719f0" providerId="AD" clId="Web-{94F4D848-7032-9D76-7799-25C9E0AC442B}" dt="2024-05-28T14:45:59.443" v="0"/>
          <ac:picMkLst>
            <pc:docMk/>
            <pc:sldMk cId="735433055" sldId="257"/>
            <ac:picMk id="5" creationId="{3CA46D07-6EFE-7933-B20D-07867E16FD16}"/>
          </ac:picMkLst>
        </pc:picChg>
      </pc:sldChg>
      <pc:sldChg chg="delSp">
        <pc:chgData name="Aleena Lida Surenian" userId="S::als0813@ads.northwestern.edu::e2fd0e4e-6417-49b0-ab16-0ba26a1719f0" providerId="AD" clId="Web-{94F4D848-7032-9D76-7799-25C9E0AC442B}" dt="2024-05-28T14:46:31.115" v="14"/>
        <pc:sldMkLst>
          <pc:docMk/>
          <pc:sldMk cId="0" sldId="258"/>
        </pc:sldMkLst>
        <pc:grpChg chg="del">
          <ac:chgData name="Aleena Lida Surenian" userId="S::als0813@ads.northwestern.edu::e2fd0e4e-6417-49b0-ab16-0ba26a1719f0" providerId="AD" clId="Web-{94F4D848-7032-9D76-7799-25C9E0AC442B}" dt="2024-05-28T14:46:28.459" v="12"/>
          <ac:grpSpMkLst>
            <pc:docMk/>
            <pc:sldMk cId="0" sldId="258"/>
            <ac:grpSpMk id="8" creationId="{00000000-0000-0000-0000-000000000000}"/>
          </ac:grpSpMkLst>
        </pc:grpChg>
        <pc:picChg chg="del">
          <ac:chgData name="Aleena Lida Surenian" userId="S::als0813@ads.northwestern.edu::e2fd0e4e-6417-49b0-ab16-0ba26a1719f0" providerId="AD" clId="Web-{94F4D848-7032-9D76-7799-25C9E0AC442B}" dt="2024-05-28T14:46:30.053" v="13"/>
          <ac:picMkLst>
            <pc:docMk/>
            <pc:sldMk cId="0" sldId="258"/>
            <ac:picMk id="12" creationId="{00000000-0000-0000-0000-000000000000}"/>
          </ac:picMkLst>
        </pc:picChg>
        <pc:picChg chg="del">
          <ac:chgData name="Aleena Lida Surenian" userId="S::als0813@ads.northwestern.edu::e2fd0e4e-6417-49b0-ab16-0ba26a1719f0" providerId="AD" clId="Web-{94F4D848-7032-9D76-7799-25C9E0AC442B}" dt="2024-05-28T14:46:31.115" v="14"/>
          <ac:picMkLst>
            <pc:docMk/>
            <pc:sldMk cId="0" sldId="258"/>
            <ac:picMk id="13" creationId="{00000000-0000-0000-0000-000000000000}"/>
          </ac:picMkLst>
        </pc:picChg>
      </pc:sldChg>
      <pc:sldChg chg="delSp">
        <pc:chgData name="Aleena Lida Surenian" userId="S::als0813@ads.northwestern.edu::e2fd0e4e-6417-49b0-ab16-0ba26a1719f0" providerId="AD" clId="Web-{94F4D848-7032-9D76-7799-25C9E0AC442B}" dt="2024-05-28T14:46:25.834" v="11"/>
        <pc:sldMkLst>
          <pc:docMk/>
          <pc:sldMk cId="0" sldId="259"/>
        </pc:sldMkLst>
        <pc:spChg chg="del">
          <ac:chgData name="Aleena Lida Surenian" userId="S::als0813@ads.northwestern.edu::e2fd0e4e-6417-49b0-ab16-0ba26a1719f0" providerId="AD" clId="Web-{94F4D848-7032-9D76-7799-25C9E0AC442B}" dt="2024-05-28T14:46:19.052" v="6"/>
          <ac:spMkLst>
            <pc:docMk/>
            <pc:sldMk cId="0" sldId="259"/>
            <ac:spMk id="8" creationId="{00000000-0000-0000-0000-000000000000}"/>
          </ac:spMkLst>
        </pc:spChg>
        <pc:spChg chg="del">
          <ac:chgData name="Aleena Lida Surenian" userId="S::als0813@ads.northwestern.edu::e2fd0e4e-6417-49b0-ab16-0ba26a1719f0" providerId="AD" clId="Web-{94F4D848-7032-9D76-7799-25C9E0AC442B}" dt="2024-05-28T14:46:21.115" v="8"/>
          <ac:spMkLst>
            <pc:docMk/>
            <pc:sldMk cId="0" sldId="259"/>
            <ac:spMk id="11" creationId="{00000000-0000-0000-0000-000000000000}"/>
          </ac:spMkLst>
        </pc:spChg>
        <pc:picChg chg="del">
          <ac:chgData name="Aleena Lida Surenian" userId="S::als0813@ads.northwestern.edu::e2fd0e4e-6417-49b0-ab16-0ba26a1719f0" providerId="AD" clId="Web-{94F4D848-7032-9D76-7799-25C9E0AC442B}" dt="2024-05-28T14:46:25.756" v="10"/>
          <ac:picMkLst>
            <pc:docMk/>
            <pc:sldMk cId="0" sldId="259"/>
            <ac:picMk id="9" creationId="{00000000-0000-0000-0000-000000000000}"/>
          </ac:picMkLst>
        </pc:picChg>
        <pc:picChg chg="del">
          <ac:chgData name="Aleena Lida Surenian" userId="S::als0813@ads.northwestern.edu::e2fd0e4e-6417-49b0-ab16-0ba26a1719f0" providerId="AD" clId="Web-{94F4D848-7032-9D76-7799-25C9E0AC442B}" dt="2024-05-28T14:46:25.834" v="11"/>
          <ac:picMkLst>
            <pc:docMk/>
            <pc:sldMk cId="0" sldId="259"/>
            <ac:picMk id="10" creationId="{00000000-0000-0000-0000-000000000000}"/>
          </ac:picMkLst>
        </pc:picChg>
        <pc:picChg chg="del">
          <ac:chgData name="Aleena Lida Surenian" userId="S::als0813@ads.northwestern.edu::e2fd0e4e-6417-49b0-ab16-0ba26a1719f0" providerId="AD" clId="Web-{94F4D848-7032-9D76-7799-25C9E0AC442B}" dt="2024-05-28T14:46:22.208" v="9"/>
          <ac:picMkLst>
            <pc:docMk/>
            <pc:sldMk cId="0" sldId="259"/>
            <ac:picMk id="12" creationId="{00000000-0000-0000-0000-000000000000}"/>
          </ac:picMkLst>
        </pc:picChg>
        <pc:picChg chg="del">
          <ac:chgData name="Aleena Lida Surenian" userId="S::als0813@ads.northwestern.edu::e2fd0e4e-6417-49b0-ab16-0ba26a1719f0" providerId="AD" clId="Web-{94F4D848-7032-9D76-7799-25C9E0AC442B}" dt="2024-05-28T14:46:19.990" v="7"/>
          <ac:picMkLst>
            <pc:docMk/>
            <pc:sldMk cId="0" sldId="259"/>
            <ac:picMk id="13" creationId="{00000000-0000-0000-0000-000000000000}"/>
          </ac:picMkLst>
        </pc:picChg>
      </pc:sldChg>
      <pc:sldChg chg="delSp">
        <pc:chgData name="Aleena Lida Surenian" userId="S::als0813@ads.northwestern.edu::e2fd0e4e-6417-49b0-ab16-0ba26a1719f0" providerId="AD" clId="Web-{94F4D848-7032-9D76-7799-25C9E0AC442B}" dt="2024-05-28T14:46:35.881" v="16"/>
        <pc:sldMkLst>
          <pc:docMk/>
          <pc:sldMk cId="0" sldId="260"/>
        </pc:sldMkLst>
        <pc:picChg chg="del">
          <ac:chgData name="Aleena Lida Surenian" userId="S::als0813@ads.northwestern.edu::e2fd0e4e-6417-49b0-ab16-0ba26a1719f0" providerId="AD" clId="Web-{94F4D848-7032-9D76-7799-25C9E0AC442B}" dt="2024-05-28T14:46:35.006" v="15"/>
          <ac:picMkLst>
            <pc:docMk/>
            <pc:sldMk cId="0" sldId="260"/>
            <ac:picMk id="8" creationId="{00000000-0000-0000-0000-000000000000}"/>
          </ac:picMkLst>
        </pc:picChg>
        <pc:picChg chg="del">
          <ac:chgData name="Aleena Lida Surenian" userId="S::als0813@ads.northwestern.edu::e2fd0e4e-6417-49b0-ab16-0ba26a1719f0" providerId="AD" clId="Web-{94F4D848-7032-9D76-7799-25C9E0AC442B}" dt="2024-05-28T14:46:35.881" v="16"/>
          <ac:picMkLst>
            <pc:docMk/>
            <pc:sldMk cId="0" sldId="260"/>
            <ac:picMk id="15" creationId="{00000000-0000-0000-0000-000000000000}"/>
          </ac:picMkLst>
        </pc:picChg>
      </pc:sldChg>
      <pc:sldChg chg="delSp">
        <pc:chgData name="Aleena Lida Surenian" userId="S::als0813@ads.northwestern.edu::e2fd0e4e-6417-49b0-ab16-0ba26a1719f0" providerId="AD" clId="Web-{94F4D848-7032-9D76-7799-25C9E0AC442B}" dt="2024-05-28T14:46:46.819" v="22"/>
        <pc:sldMkLst>
          <pc:docMk/>
          <pc:sldMk cId="0" sldId="262"/>
        </pc:sldMkLst>
        <pc:grpChg chg="del">
          <ac:chgData name="Aleena Lida Surenian" userId="S::als0813@ads.northwestern.edu::e2fd0e4e-6417-49b0-ab16-0ba26a1719f0" providerId="AD" clId="Web-{94F4D848-7032-9D76-7799-25C9E0AC442B}" dt="2024-05-28T14:46:45.287" v="20"/>
          <ac:grpSpMkLst>
            <pc:docMk/>
            <pc:sldMk cId="0" sldId="262"/>
            <ac:grpSpMk id="8" creationId="{00000000-0000-0000-0000-000000000000}"/>
          </ac:grpSpMkLst>
        </pc:grpChg>
        <pc:picChg chg="del">
          <ac:chgData name="Aleena Lida Surenian" userId="S::als0813@ads.northwestern.edu::e2fd0e4e-6417-49b0-ab16-0ba26a1719f0" providerId="AD" clId="Web-{94F4D848-7032-9D76-7799-25C9E0AC442B}" dt="2024-05-28T14:46:45.975" v="21"/>
          <ac:picMkLst>
            <pc:docMk/>
            <pc:sldMk cId="0" sldId="262"/>
            <ac:picMk id="7" creationId="{00000000-0000-0000-0000-000000000000}"/>
          </ac:picMkLst>
        </pc:picChg>
        <pc:picChg chg="del">
          <ac:chgData name="Aleena Lida Surenian" userId="S::als0813@ads.northwestern.edu::e2fd0e4e-6417-49b0-ab16-0ba26a1719f0" providerId="AD" clId="Web-{94F4D848-7032-9D76-7799-25C9E0AC442B}" dt="2024-05-28T14:46:46.819" v="22"/>
          <ac:picMkLst>
            <pc:docMk/>
            <pc:sldMk cId="0" sldId="262"/>
            <ac:picMk id="12" creationId="{00000000-0000-0000-0000-000000000000}"/>
          </ac:picMkLst>
        </pc:picChg>
      </pc:sldChg>
      <pc:sldChg chg="delSp">
        <pc:chgData name="Aleena Lida Surenian" userId="S::als0813@ads.northwestern.edu::e2fd0e4e-6417-49b0-ab16-0ba26a1719f0" providerId="AD" clId="Web-{94F4D848-7032-9D76-7799-25C9E0AC442B}" dt="2024-05-28T14:46:52.991" v="23"/>
        <pc:sldMkLst>
          <pc:docMk/>
          <pc:sldMk cId="0" sldId="264"/>
        </pc:sldMkLst>
        <pc:grpChg chg="del">
          <ac:chgData name="Aleena Lida Surenian" userId="S::als0813@ads.northwestern.edu::e2fd0e4e-6417-49b0-ab16-0ba26a1719f0" providerId="AD" clId="Web-{94F4D848-7032-9D76-7799-25C9E0AC442B}" dt="2024-05-28T14:46:52.991" v="23"/>
          <ac:grpSpMkLst>
            <pc:docMk/>
            <pc:sldMk cId="0" sldId="264"/>
            <ac:grpSpMk id="4" creationId="{00000000-0000-0000-0000-000000000000}"/>
          </ac:grpSpMkLst>
        </pc:grpChg>
      </pc:sldChg>
      <pc:sldChg chg="delSp">
        <pc:chgData name="Aleena Lida Surenian" userId="S::als0813@ads.northwestern.edu::e2fd0e4e-6417-49b0-ab16-0ba26a1719f0" providerId="AD" clId="Web-{94F4D848-7032-9D76-7799-25C9E0AC442B}" dt="2024-05-28T14:47:01.101" v="24"/>
        <pc:sldMkLst>
          <pc:docMk/>
          <pc:sldMk cId="0" sldId="268"/>
        </pc:sldMkLst>
        <pc:picChg chg="del">
          <ac:chgData name="Aleena Lida Surenian" userId="S::als0813@ads.northwestern.edu::e2fd0e4e-6417-49b0-ab16-0ba26a1719f0" providerId="AD" clId="Web-{94F4D848-7032-9D76-7799-25C9E0AC442B}" dt="2024-05-28T14:47:01.101" v="24"/>
          <ac:picMkLst>
            <pc:docMk/>
            <pc:sldMk cId="0" sldId="268"/>
            <ac:picMk id="2" creationId="{00000000-0000-0000-0000-000000000000}"/>
          </ac:picMkLst>
        </pc:picChg>
      </pc:sldChg>
      <pc:sldChg chg="delSp">
        <pc:chgData name="Aleena Lida Surenian" userId="S::als0813@ads.northwestern.edu::e2fd0e4e-6417-49b0-ab16-0ba26a1719f0" providerId="AD" clId="Web-{94F4D848-7032-9D76-7799-25C9E0AC442B}" dt="2024-05-28T14:46:04.786" v="1"/>
        <pc:sldMkLst>
          <pc:docMk/>
          <pc:sldMk cId="978637396" sldId="374"/>
        </pc:sldMkLst>
        <pc:picChg chg="del">
          <ac:chgData name="Aleena Lida Surenian" userId="S::als0813@ads.northwestern.edu::e2fd0e4e-6417-49b0-ab16-0ba26a1719f0" providerId="AD" clId="Web-{94F4D848-7032-9D76-7799-25C9E0AC442B}" dt="2024-05-28T14:46:04.786" v="1"/>
          <ac:picMkLst>
            <pc:docMk/>
            <pc:sldMk cId="978637396" sldId="374"/>
            <ac:picMk id="5" creationId="{57A981B4-A50F-F991-1303-2F60214DADAB}"/>
          </ac:picMkLst>
        </pc:picChg>
      </pc:sldChg>
      <pc:sldChg chg="delSp">
        <pc:chgData name="Aleena Lida Surenian" userId="S::als0813@ads.northwestern.edu::e2fd0e4e-6417-49b0-ab16-0ba26a1719f0" providerId="AD" clId="Web-{94F4D848-7032-9D76-7799-25C9E0AC442B}" dt="2024-05-28T14:47:16.273" v="28"/>
        <pc:sldMkLst>
          <pc:docMk/>
          <pc:sldMk cId="261876707" sldId="376"/>
        </pc:sldMkLst>
        <pc:picChg chg="del">
          <ac:chgData name="Aleena Lida Surenian" userId="S::als0813@ads.northwestern.edu::e2fd0e4e-6417-49b0-ab16-0ba26a1719f0" providerId="AD" clId="Web-{94F4D848-7032-9D76-7799-25C9E0AC442B}" dt="2024-05-28T14:47:16.273" v="28"/>
          <ac:picMkLst>
            <pc:docMk/>
            <pc:sldMk cId="261876707" sldId="376"/>
            <ac:picMk id="4" creationId="{4E1C1628-DDE8-24B3-772D-553BD2C231C5}"/>
          </ac:picMkLst>
        </pc:picChg>
      </pc:sldChg>
      <pc:sldChg chg="delSp">
        <pc:chgData name="Aleena Lida Surenian" userId="S::als0813@ads.northwestern.edu::e2fd0e4e-6417-49b0-ab16-0ba26a1719f0" providerId="AD" clId="Web-{94F4D848-7032-9D76-7799-25C9E0AC442B}" dt="2024-05-28T14:46:15.146" v="5"/>
        <pc:sldMkLst>
          <pc:docMk/>
          <pc:sldMk cId="1400340107" sldId="377"/>
        </pc:sldMkLst>
        <pc:picChg chg="del">
          <ac:chgData name="Aleena Lida Surenian" userId="S::als0813@ads.northwestern.edu::e2fd0e4e-6417-49b0-ab16-0ba26a1719f0" providerId="AD" clId="Web-{94F4D848-7032-9D76-7799-25C9E0AC442B}" dt="2024-05-28T14:46:15.146" v="5"/>
          <ac:picMkLst>
            <pc:docMk/>
            <pc:sldMk cId="1400340107" sldId="377"/>
            <ac:picMk id="4" creationId="{41F132E8-EA66-DAC9-6C90-1DE362CF967C}"/>
          </ac:picMkLst>
        </pc:picChg>
      </pc:sldChg>
      <pc:sldChg chg="delSp">
        <pc:chgData name="Aleena Lida Surenian" userId="S::als0813@ads.northwestern.edu::e2fd0e4e-6417-49b0-ab16-0ba26a1719f0" providerId="AD" clId="Web-{94F4D848-7032-9D76-7799-25C9E0AC442B}" dt="2024-05-28T14:47:24.273" v="29"/>
        <pc:sldMkLst>
          <pc:docMk/>
          <pc:sldMk cId="1588441695" sldId="2385"/>
        </pc:sldMkLst>
        <pc:picChg chg="del">
          <ac:chgData name="Aleena Lida Surenian" userId="S::als0813@ads.northwestern.edu::e2fd0e4e-6417-49b0-ab16-0ba26a1719f0" providerId="AD" clId="Web-{94F4D848-7032-9D76-7799-25C9E0AC442B}" dt="2024-05-28T14:47:24.273" v="29"/>
          <ac:picMkLst>
            <pc:docMk/>
            <pc:sldMk cId="1588441695" sldId="2385"/>
            <ac:picMk id="1026" creationId="{9B31776C-1EEA-4B73-F5CB-CE488CAB073B}"/>
          </ac:picMkLst>
        </pc:picChg>
      </pc:sldChg>
      <pc:sldChg chg="delSp">
        <pc:chgData name="Aleena Lida Surenian" userId="S::als0813@ads.northwestern.edu::e2fd0e4e-6417-49b0-ab16-0ba26a1719f0" providerId="AD" clId="Web-{94F4D848-7032-9D76-7799-25C9E0AC442B}" dt="2024-05-28T14:47:26.711" v="30"/>
        <pc:sldMkLst>
          <pc:docMk/>
          <pc:sldMk cId="1949630764" sldId="2389"/>
        </pc:sldMkLst>
        <pc:picChg chg="del">
          <ac:chgData name="Aleena Lida Surenian" userId="S::als0813@ads.northwestern.edu::e2fd0e4e-6417-49b0-ab16-0ba26a1719f0" providerId="AD" clId="Web-{94F4D848-7032-9D76-7799-25C9E0AC442B}" dt="2024-05-28T14:47:26.711" v="30"/>
          <ac:picMkLst>
            <pc:docMk/>
            <pc:sldMk cId="1949630764" sldId="2389"/>
            <ac:picMk id="2050" creationId="{40B418C7-AD38-B33E-3145-73676ACEC012}"/>
          </ac:picMkLst>
        </pc:picChg>
      </pc:sldChg>
      <pc:sldChg chg="delSp">
        <pc:chgData name="Aleena Lida Surenian" userId="S::als0813@ads.northwestern.edu::e2fd0e4e-6417-49b0-ab16-0ba26a1719f0" providerId="AD" clId="Web-{94F4D848-7032-9D76-7799-25C9E0AC442B}" dt="2024-05-28T14:47:05.117" v="25"/>
        <pc:sldMkLst>
          <pc:docMk/>
          <pc:sldMk cId="3576339792" sldId="2483"/>
        </pc:sldMkLst>
        <pc:picChg chg="del">
          <ac:chgData name="Aleena Lida Surenian" userId="S::als0813@ads.northwestern.edu::e2fd0e4e-6417-49b0-ab16-0ba26a1719f0" providerId="AD" clId="Web-{94F4D848-7032-9D76-7799-25C9E0AC442B}" dt="2024-05-28T14:47:05.117" v="25"/>
          <ac:picMkLst>
            <pc:docMk/>
            <pc:sldMk cId="3576339792" sldId="2483"/>
            <ac:picMk id="4" creationId="{FEE85F51-144E-25F0-6707-9B6F70D798AF}"/>
          </ac:picMkLst>
        </pc:picChg>
      </pc:sldChg>
      <pc:sldChg chg="delSp">
        <pc:chgData name="Aleena Lida Surenian" userId="S::als0813@ads.northwestern.edu::e2fd0e4e-6417-49b0-ab16-0ba26a1719f0" providerId="AD" clId="Web-{94F4D848-7032-9D76-7799-25C9E0AC442B}" dt="2024-05-28T14:47:09.007" v="26"/>
        <pc:sldMkLst>
          <pc:docMk/>
          <pc:sldMk cId="2440003985" sldId="2486"/>
        </pc:sldMkLst>
        <pc:picChg chg="del">
          <ac:chgData name="Aleena Lida Surenian" userId="S::als0813@ads.northwestern.edu::e2fd0e4e-6417-49b0-ab16-0ba26a1719f0" providerId="AD" clId="Web-{94F4D848-7032-9D76-7799-25C9E0AC442B}" dt="2024-05-28T14:47:09.007" v="26"/>
          <ac:picMkLst>
            <pc:docMk/>
            <pc:sldMk cId="2440003985" sldId="2486"/>
            <ac:picMk id="3" creationId="{94790C5C-A6B7-2EAE-66B2-8214ED019E9B}"/>
          </ac:picMkLst>
        </pc:picChg>
      </pc:sldChg>
      <pc:sldChg chg="addSp delSp modSp">
        <pc:chgData name="Aleena Lida Surenian" userId="S::als0813@ads.northwestern.edu::e2fd0e4e-6417-49b0-ab16-0ba26a1719f0" providerId="AD" clId="Web-{94F4D848-7032-9D76-7799-25C9E0AC442B}" dt="2024-05-28T14:47:12.523" v="27"/>
        <pc:sldMkLst>
          <pc:docMk/>
          <pc:sldMk cId="1918384266" sldId="2490"/>
        </pc:sldMkLst>
        <pc:spChg chg="add mod">
          <ac:chgData name="Aleena Lida Surenian" userId="S::als0813@ads.northwestern.edu::e2fd0e4e-6417-49b0-ab16-0ba26a1719f0" providerId="AD" clId="Web-{94F4D848-7032-9D76-7799-25C9E0AC442B}" dt="2024-05-28T14:47:12.523" v="27"/>
          <ac:spMkLst>
            <pc:docMk/>
            <pc:sldMk cId="1918384266" sldId="2490"/>
            <ac:spMk id="3" creationId="{4838EFBE-600A-C11E-5261-544B933C2A92}"/>
          </ac:spMkLst>
        </pc:spChg>
        <pc:picChg chg="del">
          <ac:chgData name="Aleena Lida Surenian" userId="S::als0813@ads.northwestern.edu::e2fd0e4e-6417-49b0-ab16-0ba26a1719f0" providerId="AD" clId="Web-{94F4D848-7032-9D76-7799-25C9E0AC442B}" dt="2024-05-28T14:47:12.523" v="27"/>
          <ac:picMkLst>
            <pc:docMk/>
            <pc:sldMk cId="1918384266" sldId="2490"/>
            <ac:picMk id="5" creationId="{D49282CF-B2DA-2D1B-14D5-43B202691BDA}"/>
          </ac:picMkLst>
        </pc:picChg>
      </pc:sldChg>
      <pc:sldChg chg="delSp">
        <pc:chgData name="Aleena Lida Surenian" userId="S::als0813@ads.northwestern.edu::e2fd0e4e-6417-49b0-ab16-0ba26a1719f0" providerId="AD" clId="Web-{94F4D848-7032-9D76-7799-25C9E0AC442B}" dt="2024-05-28T14:46:11.817" v="4"/>
        <pc:sldMkLst>
          <pc:docMk/>
          <pc:sldMk cId="3832781615" sldId="2495"/>
        </pc:sldMkLst>
        <pc:picChg chg="del">
          <ac:chgData name="Aleena Lida Surenian" userId="S::als0813@ads.northwestern.edu::e2fd0e4e-6417-49b0-ab16-0ba26a1719f0" providerId="AD" clId="Web-{94F4D848-7032-9D76-7799-25C9E0AC442B}" dt="2024-05-28T14:46:11.817" v="4"/>
          <ac:picMkLst>
            <pc:docMk/>
            <pc:sldMk cId="3832781615" sldId="2495"/>
            <ac:picMk id="16" creationId="{43A26521-A13D-62C2-E634-1FB9BFC2F9E2}"/>
          </ac:picMkLst>
        </pc:picChg>
      </pc:sldChg>
      <pc:sldChg chg="delSp">
        <pc:chgData name="Aleena Lida Surenian" userId="S::als0813@ads.northwestern.edu::e2fd0e4e-6417-49b0-ab16-0ba26a1719f0" providerId="AD" clId="Web-{94F4D848-7032-9D76-7799-25C9E0AC442B}" dt="2024-05-28T14:46:07.052" v="2"/>
        <pc:sldMkLst>
          <pc:docMk/>
          <pc:sldMk cId="2085162930" sldId="2496"/>
        </pc:sldMkLst>
        <pc:grpChg chg="del">
          <ac:chgData name="Aleena Lida Surenian" userId="S::als0813@ads.northwestern.edu::e2fd0e4e-6417-49b0-ab16-0ba26a1719f0" providerId="AD" clId="Web-{94F4D848-7032-9D76-7799-25C9E0AC442B}" dt="2024-05-28T14:46:07.052" v="2"/>
          <ac:grpSpMkLst>
            <pc:docMk/>
            <pc:sldMk cId="2085162930" sldId="2496"/>
            <ac:grpSpMk id="8" creationId="{00000000-0000-0000-0000-000000000000}"/>
          </ac:grpSpMkLst>
        </pc:grpChg>
      </pc:sldChg>
      <pc:sldChg chg="delSp">
        <pc:chgData name="Aleena Lida Surenian" userId="S::als0813@ads.northwestern.edu::e2fd0e4e-6417-49b0-ab16-0ba26a1719f0" providerId="AD" clId="Web-{94F4D848-7032-9D76-7799-25C9E0AC442B}" dt="2024-05-28T14:46:09.317" v="3"/>
        <pc:sldMkLst>
          <pc:docMk/>
          <pc:sldMk cId="4201563529" sldId="2497"/>
        </pc:sldMkLst>
        <pc:picChg chg="del">
          <ac:chgData name="Aleena Lida Surenian" userId="S::als0813@ads.northwestern.edu::e2fd0e4e-6417-49b0-ab16-0ba26a1719f0" providerId="AD" clId="Web-{94F4D848-7032-9D76-7799-25C9E0AC442B}" dt="2024-05-28T14:46:09.317" v="3"/>
          <ac:picMkLst>
            <pc:docMk/>
            <pc:sldMk cId="4201563529" sldId="2497"/>
            <ac:picMk id="9" creationId="{72B551E1-1306-3E3E-0D3B-F7015D1BE1D7}"/>
          </ac:picMkLst>
        </pc:picChg>
      </pc:sldChg>
      <pc:sldChg chg="delSp">
        <pc:chgData name="Aleena Lida Surenian" userId="S::als0813@ads.northwestern.edu::e2fd0e4e-6417-49b0-ab16-0ba26a1719f0" providerId="AD" clId="Web-{94F4D848-7032-9D76-7799-25C9E0AC442B}" dt="2024-05-28T14:46:41.787" v="19"/>
        <pc:sldMkLst>
          <pc:docMk/>
          <pc:sldMk cId="408746558" sldId="2500"/>
        </pc:sldMkLst>
        <pc:grpChg chg="del">
          <ac:chgData name="Aleena Lida Surenian" userId="S::als0813@ads.northwestern.edu::e2fd0e4e-6417-49b0-ab16-0ba26a1719f0" providerId="AD" clId="Web-{94F4D848-7032-9D76-7799-25C9E0AC442B}" dt="2024-05-28T14:46:40.148" v="17"/>
          <ac:grpSpMkLst>
            <pc:docMk/>
            <pc:sldMk cId="408746558" sldId="2500"/>
            <ac:grpSpMk id="18" creationId="{00000000-0000-0000-0000-000000000000}"/>
          </ac:grpSpMkLst>
        </pc:grpChg>
        <pc:grpChg chg="del">
          <ac:chgData name="Aleena Lida Surenian" userId="S::als0813@ads.northwestern.edu::e2fd0e4e-6417-49b0-ab16-0ba26a1719f0" providerId="AD" clId="Web-{94F4D848-7032-9D76-7799-25C9E0AC442B}" dt="2024-05-28T14:46:41.365" v="18"/>
          <ac:grpSpMkLst>
            <pc:docMk/>
            <pc:sldMk cId="408746558" sldId="2500"/>
            <ac:grpSpMk id="41" creationId="{00000000-0000-0000-0000-000000000000}"/>
          </ac:grpSpMkLst>
        </pc:grpChg>
        <pc:picChg chg="del">
          <ac:chgData name="Aleena Lida Surenian" userId="S::als0813@ads.northwestern.edu::e2fd0e4e-6417-49b0-ab16-0ba26a1719f0" providerId="AD" clId="Web-{94F4D848-7032-9D76-7799-25C9E0AC442B}" dt="2024-05-28T14:46:41.787" v="19"/>
          <ac:picMkLst>
            <pc:docMk/>
            <pc:sldMk cId="408746558" sldId="2500"/>
            <ac:picMk id="40" creationId="{00000000-0000-0000-0000-000000000000}"/>
          </ac:picMkLst>
        </pc:pic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image" Target="../media/image9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image" Target="../media/image99.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9CEEFD-6456-42F2-8690-51C878E64F29}" type="doc">
      <dgm:prSet loTypeId="urn:microsoft.com/office/officeart/2005/8/layout/hList7" loCatId="list" qsTypeId="urn:microsoft.com/office/officeart/2005/8/quickstyle/simple1" qsCatId="simple" csTypeId="urn:microsoft.com/office/officeart/2005/8/colors/accent3_2" csCatId="accent3" phldr="1"/>
      <dgm:spPr/>
    </dgm:pt>
    <dgm:pt modelId="{BBA2CB0C-86C4-49EB-8079-380639D51E93}">
      <dgm:prSet phldrT="[Text]"/>
      <dgm:spPr>
        <a:solidFill>
          <a:schemeClr val="accent2">
            <a:lumMod val="75000"/>
          </a:schemeClr>
        </a:solidFill>
      </dgm:spPr>
      <dgm:t>
        <a:bodyPr/>
        <a:lstStyle/>
        <a:p>
          <a:r>
            <a:rPr lang="en-US" dirty="0"/>
            <a:t>Rush University Medical Center</a:t>
          </a:r>
        </a:p>
      </dgm:t>
    </dgm:pt>
    <dgm:pt modelId="{1F2A0BA6-277F-4D0C-BFD7-3F9CCED43F12}" type="parTrans" cxnId="{B45A1C38-521E-43AB-8E9B-8387E3AE770B}">
      <dgm:prSet/>
      <dgm:spPr/>
      <dgm:t>
        <a:bodyPr/>
        <a:lstStyle/>
        <a:p>
          <a:endParaRPr lang="en-US"/>
        </a:p>
      </dgm:t>
    </dgm:pt>
    <dgm:pt modelId="{14EC0E39-793E-4D32-B7FD-D01BF84FEB05}" type="sibTrans" cxnId="{B45A1C38-521E-43AB-8E9B-8387E3AE770B}">
      <dgm:prSet/>
      <dgm:spPr/>
      <dgm:t>
        <a:bodyPr/>
        <a:lstStyle/>
        <a:p>
          <a:endParaRPr lang="en-US"/>
        </a:p>
      </dgm:t>
    </dgm:pt>
    <dgm:pt modelId="{EB0896F3-1CDF-4AF8-8613-57758C84F810}">
      <dgm:prSet phldrT="[Text]"/>
      <dgm:spPr>
        <a:solidFill>
          <a:schemeClr val="accent2">
            <a:lumMod val="75000"/>
          </a:schemeClr>
        </a:solidFill>
      </dgm:spPr>
      <dgm:t>
        <a:bodyPr/>
        <a:lstStyle/>
        <a:p>
          <a:r>
            <a:rPr lang="en-US" dirty="0"/>
            <a:t>Rush University College of Nursing</a:t>
          </a:r>
        </a:p>
      </dgm:t>
    </dgm:pt>
    <dgm:pt modelId="{8FB4BBFB-736F-4674-A8C7-73BF19C2F564}" type="parTrans" cxnId="{36AAA9BE-74CF-4757-A1A8-A911BB32E2DC}">
      <dgm:prSet/>
      <dgm:spPr/>
      <dgm:t>
        <a:bodyPr/>
        <a:lstStyle/>
        <a:p>
          <a:endParaRPr lang="en-US"/>
        </a:p>
      </dgm:t>
    </dgm:pt>
    <dgm:pt modelId="{73D9CEF8-D33B-40D2-BE48-7429C430E32A}" type="sibTrans" cxnId="{36AAA9BE-74CF-4757-A1A8-A911BB32E2DC}">
      <dgm:prSet/>
      <dgm:spPr/>
      <dgm:t>
        <a:bodyPr/>
        <a:lstStyle/>
        <a:p>
          <a:endParaRPr lang="en-US"/>
        </a:p>
      </dgm:t>
    </dgm:pt>
    <dgm:pt modelId="{4A2E103B-2D55-49B2-927A-17F6D2957DB7}">
      <dgm:prSet/>
      <dgm:spPr>
        <a:solidFill>
          <a:schemeClr val="accent2">
            <a:lumMod val="75000"/>
          </a:schemeClr>
        </a:solidFill>
      </dgm:spPr>
      <dgm:t>
        <a:bodyPr/>
        <a:lstStyle/>
        <a:p>
          <a:r>
            <a:rPr lang="en-US"/>
            <a:t>Chicago Department of Public Health</a:t>
          </a:r>
          <a:endParaRPr lang="en-US" dirty="0"/>
        </a:p>
      </dgm:t>
    </dgm:pt>
    <dgm:pt modelId="{E87914BE-5CBC-48C6-9306-065DD716EDEF}" type="parTrans" cxnId="{DA93EB65-500E-4187-8B7E-924D9E8AB4EB}">
      <dgm:prSet/>
      <dgm:spPr/>
      <dgm:t>
        <a:bodyPr/>
        <a:lstStyle/>
        <a:p>
          <a:endParaRPr lang="en-US"/>
        </a:p>
      </dgm:t>
    </dgm:pt>
    <dgm:pt modelId="{F5F59A07-A74D-49B4-B7B5-C4DE19789884}" type="sibTrans" cxnId="{DA93EB65-500E-4187-8B7E-924D9E8AB4EB}">
      <dgm:prSet/>
      <dgm:spPr/>
      <dgm:t>
        <a:bodyPr/>
        <a:lstStyle/>
        <a:p>
          <a:endParaRPr lang="en-US"/>
        </a:p>
      </dgm:t>
    </dgm:pt>
    <dgm:pt modelId="{F3FD1CC6-67D4-471D-9508-9F6869E233BF}" type="pres">
      <dgm:prSet presAssocID="{A79CEEFD-6456-42F2-8690-51C878E64F29}" presName="Name0" presStyleCnt="0">
        <dgm:presLayoutVars>
          <dgm:dir/>
          <dgm:resizeHandles val="exact"/>
        </dgm:presLayoutVars>
      </dgm:prSet>
      <dgm:spPr/>
    </dgm:pt>
    <dgm:pt modelId="{195C1219-E7B5-4B20-92BB-B58FDF930EB7}" type="pres">
      <dgm:prSet presAssocID="{A79CEEFD-6456-42F2-8690-51C878E64F29}" presName="fgShape" presStyleLbl="fgShp" presStyleIdx="0" presStyleCnt="1"/>
      <dgm:spPr/>
    </dgm:pt>
    <dgm:pt modelId="{7B5D71C0-7C19-4B14-9331-A7932CE62CB2}" type="pres">
      <dgm:prSet presAssocID="{A79CEEFD-6456-42F2-8690-51C878E64F29}" presName="linComp" presStyleCnt="0"/>
      <dgm:spPr/>
    </dgm:pt>
    <dgm:pt modelId="{782DBC68-0F55-472D-B7BB-E87E064FF11A}" type="pres">
      <dgm:prSet presAssocID="{4A2E103B-2D55-49B2-927A-17F6D2957DB7}" presName="compNode" presStyleCnt="0"/>
      <dgm:spPr/>
    </dgm:pt>
    <dgm:pt modelId="{E0D56AE0-D411-48D7-ACEB-5F26444D79CC}" type="pres">
      <dgm:prSet presAssocID="{4A2E103B-2D55-49B2-927A-17F6D2957DB7}" presName="bkgdShape" presStyleLbl="node1" presStyleIdx="0" presStyleCnt="3"/>
      <dgm:spPr/>
    </dgm:pt>
    <dgm:pt modelId="{12422FA1-9359-49B2-B939-93313BC2053A}" type="pres">
      <dgm:prSet presAssocID="{4A2E103B-2D55-49B2-927A-17F6D2957DB7}" presName="nodeTx" presStyleLbl="node1" presStyleIdx="0" presStyleCnt="3">
        <dgm:presLayoutVars>
          <dgm:bulletEnabled val="1"/>
        </dgm:presLayoutVars>
      </dgm:prSet>
      <dgm:spPr/>
    </dgm:pt>
    <dgm:pt modelId="{6215D708-BD61-4581-A1D9-C133DC73F5ED}" type="pres">
      <dgm:prSet presAssocID="{4A2E103B-2D55-49B2-927A-17F6D2957DB7}" presName="invisiNode" presStyleLbl="node1" presStyleIdx="0" presStyleCnt="3"/>
      <dgm:spPr/>
    </dgm:pt>
    <dgm:pt modelId="{7B8E246C-456B-4FF1-AA35-513A1E5B388B}" type="pres">
      <dgm:prSet presAssocID="{4A2E103B-2D55-49B2-927A-17F6D2957DB7}" presName="imagNode" presStyleLbl="fgImgPlace1" presStyleIdx="0" presStyleCnt="3"/>
      <dgm:spPr>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pt>
    <dgm:pt modelId="{F93661C5-130F-4289-80B8-3ACB318AA99B}" type="pres">
      <dgm:prSet presAssocID="{F5F59A07-A74D-49B4-B7B5-C4DE19789884}" presName="sibTrans" presStyleLbl="sibTrans2D1" presStyleIdx="0" presStyleCnt="0"/>
      <dgm:spPr/>
    </dgm:pt>
    <dgm:pt modelId="{C5020C42-64BD-496E-AEC0-BDE35A3C578E}" type="pres">
      <dgm:prSet presAssocID="{BBA2CB0C-86C4-49EB-8079-380639D51E93}" presName="compNode" presStyleCnt="0"/>
      <dgm:spPr/>
    </dgm:pt>
    <dgm:pt modelId="{1889F617-0E42-416E-94FB-61624D8E3D5E}" type="pres">
      <dgm:prSet presAssocID="{BBA2CB0C-86C4-49EB-8079-380639D51E93}" presName="bkgdShape" presStyleLbl="node1" presStyleIdx="1" presStyleCnt="3"/>
      <dgm:spPr/>
    </dgm:pt>
    <dgm:pt modelId="{8129967D-4452-41D5-B948-806F7DB89152}" type="pres">
      <dgm:prSet presAssocID="{BBA2CB0C-86C4-49EB-8079-380639D51E93}" presName="nodeTx" presStyleLbl="node1" presStyleIdx="1" presStyleCnt="3">
        <dgm:presLayoutVars>
          <dgm:bulletEnabled val="1"/>
        </dgm:presLayoutVars>
      </dgm:prSet>
      <dgm:spPr/>
    </dgm:pt>
    <dgm:pt modelId="{1195B091-8FCA-49D9-84E6-4E8370AA736A}" type="pres">
      <dgm:prSet presAssocID="{BBA2CB0C-86C4-49EB-8079-380639D51E93}" presName="invisiNode" presStyleLbl="node1" presStyleIdx="1" presStyleCnt="3"/>
      <dgm:spPr/>
    </dgm:pt>
    <dgm:pt modelId="{7CBD4D66-5305-45C0-83EF-1449866BC925}" type="pres">
      <dgm:prSet presAssocID="{BBA2CB0C-86C4-49EB-8079-380639D51E93}" presName="imagNode" presStyleLbl="fgImgPlace1" presStyleIdx="1" presStyleCnt="3"/>
      <dgm:spPr>
        <a:blipFill rotWithShape="1">
          <a:blip xmlns:r="http://schemas.openxmlformats.org/officeDocument/2006/relationships" r:embed="rId2" cstate="email">
            <a:extLst>
              <a:ext uri="{28A0092B-C50C-407E-A947-70E740481C1C}">
                <a14:useLocalDpi xmlns:a14="http://schemas.microsoft.com/office/drawing/2010/main"/>
              </a:ext>
            </a:extLst>
          </a:blip>
          <a:srcRect/>
          <a:stretch>
            <a:fillRect l="-1000" r="-1000"/>
          </a:stretch>
        </a:blipFill>
      </dgm:spPr>
    </dgm:pt>
    <dgm:pt modelId="{9F4E0A61-FD8D-4221-9D65-752F2C03C107}" type="pres">
      <dgm:prSet presAssocID="{14EC0E39-793E-4D32-B7FD-D01BF84FEB05}" presName="sibTrans" presStyleLbl="sibTrans2D1" presStyleIdx="0" presStyleCnt="0"/>
      <dgm:spPr/>
    </dgm:pt>
    <dgm:pt modelId="{FE630727-0D8D-468C-B91F-42DF26B9C0E7}" type="pres">
      <dgm:prSet presAssocID="{EB0896F3-1CDF-4AF8-8613-57758C84F810}" presName="compNode" presStyleCnt="0"/>
      <dgm:spPr/>
    </dgm:pt>
    <dgm:pt modelId="{0E860E6D-4731-4A5F-9E9F-910CF5F20A24}" type="pres">
      <dgm:prSet presAssocID="{EB0896F3-1CDF-4AF8-8613-57758C84F810}" presName="bkgdShape" presStyleLbl="node1" presStyleIdx="2" presStyleCnt="3"/>
      <dgm:spPr/>
    </dgm:pt>
    <dgm:pt modelId="{CCFD3458-8103-4001-AD8E-39E8E5756ADE}" type="pres">
      <dgm:prSet presAssocID="{EB0896F3-1CDF-4AF8-8613-57758C84F810}" presName="nodeTx" presStyleLbl="node1" presStyleIdx="2" presStyleCnt="3">
        <dgm:presLayoutVars>
          <dgm:bulletEnabled val="1"/>
        </dgm:presLayoutVars>
      </dgm:prSet>
      <dgm:spPr/>
    </dgm:pt>
    <dgm:pt modelId="{9EDA1601-5352-4DB1-81B8-D09A6BE3C7B8}" type="pres">
      <dgm:prSet presAssocID="{EB0896F3-1CDF-4AF8-8613-57758C84F810}" presName="invisiNode" presStyleLbl="node1" presStyleIdx="2" presStyleCnt="3"/>
      <dgm:spPr/>
    </dgm:pt>
    <dgm:pt modelId="{C107A9C0-D765-44E6-AFC3-F780F8FD5B75}" type="pres">
      <dgm:prSet presAssocID="{EB0896F3-1CDF-4AF8-8613-57758C84F810}" presName="imagNode" presStyleLbl="fgImgPlace1" presStyleIdx="2" presStyleCnt="3"/>
      <dgm:spPr>
        <a:blipFill rotWithShape="1">
          <a:blip xmlns:r="http://schemas.openxmlformats.org/officeDocument/2006/relationships" r:embed="rId3" cstate="email">
            <a:extLst>
              <a:ext uri="{28A0092B-C50C-407E-A947-70E740481C1C}">
                <a14:useLocalDpi xmlns:a14="http://schemas.microsoft.com/office/drawing/2010/main"/>
              </a:ext>
            </a:extLst>
          </a:blip>
          <a:srcRect/>
          <a:stretch>
            <a:fillRect/>
          </a:stretch>
        </a:blipFill>
      </dgm:spPr>
    </dgm:pt>
  </dgm:ptLst>
  <dgm:cxnLst>
    <dgm:cxn modelId="{9B4CE610-E140-4C38-8613-D235266C984B}" type="presOf" srcId="{4A2E103B-2D55-49B2-927A-17F6D2957DB7}" destId="{E0D56AE0-D411-48D7-ACEB-5F26444D79CC}" srcOrd="0" destOrd="0" presId="urn:microsoft.com/office/officeart/2005/8/layout/hList7"/>
    <dgm:cxn modelId="{C2B55029-069A-419E-863F-B5FC4D4236EF}" type="presOf" srcId="{14EC0E39-793E-4D32-B7FD-D01BF84FEB05}" destId="{9F4E0A61-FD8D-4221-9D65-752F2C03C107}" srcOrd="0" destOrd="0" presId="urn:microsoft.com/office/officeart/2005/8/layout/hList7"/>
    <dgm:cxn modelId="{0194DC35-7F84-4410-BE17-B3EB511271A6}" type="presOf" srcId="{BBA2CB0C-86C4-49EB-8079-380639D51E93}" destId="{1889F617-0E42-416E-94FB-61624D8E3D5E}" srcOrd="0" destOrd="0" presId="urn:microsoft.com/office/officeart/2005/8/layout/hList7"/>
    <dgm:cxn modelId="{B45A1C38-521E-43AB-8E9B-8387E3AE770B}" srcId="{A79CEEFD-6456-42F2-8690-51C878E64F29}" destId="{BBA2CB0C-86C4-49EB-8079-380639D51E93}" srcOrd="1" destOrd="0" parTransId="{1F2A0BA6-277F-4D0C-BFD7-3F9CCED43F12}" sibTransId="{14EC0E39-793E-4D32-B7FD-D01BF84FEB05}"/>
    <dgm:cxn modelId="{DA93EB65-500E-4187-8B7E-924D9E8AB4EB}" srcId="{A79CEEFD-6456-42F2-8690-51C878E64F29}" destId="{4A2E103B-2D55-49B2-927A-17F6D2957DB7}" srcOrd="0" destOrd="0" parTransId="{E87914BE-5CBC-48C6-9306-065DD716EDEF}" sibTransId="{F5F59A07-A74D-49B4-B7B5-C4DE19789884}"/>
    <dgm:cxn modelId="{2708114C-1AF9-4DE9-A01A-F265BB945360}" type="presOf" srcId="{4A2E103B-2D55-49B2-927A-17F6D2957DB7}" destId="{12422FA1-9359-49B2-B939-93313BC2053A}" srcOrd="1" destOrd="0" presId="urn:microsoft.com/office/officeart/2005/8/layout/hList7"/>
    <dgm:cxn modelId="{83B60256-CA67-4AD6-8999-79A4A3A48683}" type="presOf" srcId="{BBA2CB0C-86C4-49EB-8079-380639D51E93}" destId="{8129967D-4452-41D5-B948-806F7DB89152}" srcOrd="1" destOrd="0" presId="urn:microsoft.com/office/officeart/2005/8/layout/hList7"/>
    <dgm:cxn modelId="{E12AC557-9839-4159-8579-79B83166FD3C}" type="presOf" srcId="{A79CEEFD-6456-42F2-8690-51C878E64F29}" destId="{F3FD1CC6-67D4-471D-9508-9F6869E233BF}" srcOrd="0" destOrd="0" presId="urn:microsoft.com/office/officeart/2005/8/layout/hList7"/>
    <dgm:cxn modelId="{57C25AA7-E73A-4D4D-A71D-39D0857E9C0F}" type="presOf" srcId="{EB0896F3-1CDF-4AF8-8613-57758C84F810}" destId="{0E860E6D-4731-4A5F-9E9F-910CF5F20A24}" srcOrd="0" destOrd="0" presId="urn:microsoft.com/office/officeart/2005/8/layout/hList7"/>
    <dgm:cxn modelId="{36AAA9BE-74CF-4757-A1A8-A911BB32E2DC}" srcId="{A79CEEFD-6456-42F2-8690-51C878E64F29}" destId="{EB0896F3-1CDF-4AF8-8613-57758C84F810}" srcOrd="2" destOrd="0" parTransId="{8FB4BBFB-736F-4674-A8C7-73BF19C2F564}" sibTransId="{73D9CEF8-D33B-40D2-BE48-7429C430E32A}"/>
    <dgm:cxn modelId="{F20D3EC7-C012-4259-A806-C38A5A3050D1}" type="presOf" srcId="{F5F59A07-A74D-49B4-B7B5-C4DE19789884}" destId="{F93661C5-130F-4289-80B8-3ACB318AA99B}" srcOrd="0" destOrd="0" presId="urn:microsoft.com/office/officeart/2005/8/layout/hList7"/>
    <dgm:cxn modelId="{A232A6F3-2784-4080-9C11-94BF63314237}" type="presOf" srcId="{EB0896F3-1CDF-4AF8-8613-57758C84F810}" destId="{CCFD3458-8103-4001-AD8E-39E8E5756ADE}" srcOrd="1" destOrd="0" presId="urn:microsoft.com/office/officeart/2005/8/layout/hList7"/>
    <dgm:cxn modelId="{C29AE13C-F7C6-482C-9ACF-6BCD416E95F0}" type="presParOf" srcId="{F3FD1CC6-67D4-471D-9508-9F6869E233BF}" destId="{195C1219-E7B5-4B20-92BB-B58FDF930EB7}" srcOrd="0" destOrd="0" presId="urn:microsoft.com/office/officeart/2005/8/layout/hList7"/>
    <dgm:cxn modelId="{0EAE1F0A-3F3F-4087-98F5-490C418AB055}" type="presParOf" srcId="{F3FD1CC6-67D4-471D-9508-9F6869E233BF}" destId="{7B5D71C0-7C19-4B14-9331-A7932CE62CB2}" srcOrd="1" destOrd="0" presId="urn:microsoft.com/office/officeart/2005/8/layout/hList7"/>
    <dgm:cxn modelId="{0C61168B-62DE-4772-8BDA-E930DF384B2A}" type="presParOf" srcId="{7B5D71C0-7C19-4B14-9331-A7932CE62CB2}" destId="{782DBC68-0F55-472D-B7BB-E87E064FF11A}" srcOrd="0" destOrd="0" presId="urn:microsoft.com/office/officeart/2005/8/layout/hList7"/>
    <dgm:cxn modelId="{62BAE190-BE63-4A9B-9658-F8A5A2473CDA}" type="presParOf" srcId="{782DBC68-0F55-472D-B7BB-E87E064FF11A}" destId="{E0D56AE0-D411-48D7-ACEB-5F26444D79CC}" srcOrd="0" destOrd="0" presId="urn:microsoft.com/office/officeart/2005/8/layout/hList7"/>
    <dgm:cxn modelId="{389421C8-DFBA-4F43-BD78-E1B0116CF40B}" type="presParOf" srcId="{782DBC68-0F55-472D-B7BB-E87E064FF11A}" destId="{12422FA1-9359-49B2-B939-93313BC2053A}" srcOrd="1" destOrd="0" presId="urn:microsoft.com/office/officeart/2005/8/layout/hList7"/>
    <dgm:cxn modelId="{487DD400-D958-462C-A685-0FD9E2076601}" type="presParOf" srcId="{782DBC68-0F55-472D-B7BB-E87E064FF11A}" destId="{6215D708-BD61-4581-A1D9-C133DC73F5ED}" srcOrd="2" destOrd="0" presId="urn:microsoft.com/office/officeart/2005/8/layout/hList7"/>
    <dgm:cxn modelId="{8CCC5E9A-9856-49BE-A8DE-05D3779927D6}" type="presParOf" srcId="{782DBC68-0F55-472D-B7BB-E87E064FF11A}" destId="{7B8E246C-456B-4FF1-AA35-513A1E5B388B}" srcOrd="3" destOrd="0" presId="urn:microsoft.com/office/officeart/2005/8/layout/hList7"/>
    <dgm:cxn modelId="{0C16D07E-EEEE-4481-80FC-5BA5C97E520E}" type="presParOf" srcId="{7B5D71C0-7C19-4B14-9331-A7932CE62CB2}" destId="{F93661C5-130F-4289-80B8-3ACB318AA99B}" srcOrd="1" destOrd="0" presId="urn:microsoft.com/office/officeart/2005/8/layout/hList7"/>
    <dgm:cxn modelId="{B69BDFA6-8888-4731-B7E9-DD4D5DEAB135}" type="presParOf" srcId="{7B5D71C0-7C19-4B14-9331-A7932CE62CB2}" destId="{C5020C42-64BD-496E-AEC0-BDE35A3C578E}" srcOrd="2" destOrd="0" presId="urn:microsoft.com/office/officeart/2005/8/layout/hList7"/>
    <dgm:cxn modelId="{79F46F75-7BBE-4076-979A-06451F1C85B3}" type="presParOf" srcId="{C5020C42-64BD-496E-AEC0-BDE35A3C578E}" destId="{1889F617-0E42-416E-94FB-61624D8E3D5E}" srcOrd="0" destOrd="0" presId="urn:microsoft.com/office/officeart/2005/8/layout/hList7"/>
    <dgm:cxn modelId="{2F9630DE-BB28-4129-B496-D90BA6A604CE}" type="presParOf" srcId="{C5020C42-64BD-496E-AEC0-BDE35A3C578E}" destId="{8129967D-4452-41D5-B948-806F7DB89152}" srcOrd="1" destOrd="0" presId="urn:microsoft.com/office/officeart/2005/8/layout/hList7"/>
    <dgm:cxn modelId="{F2535100-D5E6-41C0-B2B8-6B783BBF7B5E}" type="presParOf" srcId="{C5020C42-64BD-496E-AEC0-BDE35A3C578E}" destId="{1195B091-8FCA-49D9-84E6-4E8370AA736A}" srcOrd="2" destOrd="0" presId="urn:microsoft.com/office/officeart/2005/8/layout/hList7"/>
    <dgm:cxn modelId="{FB7724C8-F462-40CD-ABC6-A012C186CB3E}" type="presParOf" srcId="{C5020C42-64BD-496E-AEC0-BDE35A3C578E}" destId="{7CBD4D66-5305-45C0-83EF-1449866BC925}" srcOrd="3" destOrd="0" presId="urn:microsoft.com/office/officeart/2005/8/layout/hList7"/>
    <dgm:cxn modelId="{B0D501BF-83CE-40E1-B53C-131E04AFF6EB}" type="presParOf" srcId="{7B5D71C0-7C19-4B14-9331-A7932CE62CB2}" destId="{9F4E0A61-FD8D-4221-9D65-752F2C03C107}" srcOrd="3" destOrd="0" presId="urn:microsoft.com/office/officeart/2005/8/layout/hList7"/>
    <dgm:cxn modelId="{DC3A60F8-DF91-4345-A4E7-B98D43701369}" type="presParOf" srcId="{7B5D71C0-7C19-4B14-9331-A7932CE62CB2}" destId="{FE630727-0D8D-468C-B91F-42DF26B9C0E7}" srcOrd="4" destOrd="0" presId="urn:microsoft.com/office/officeart/2005/8/layout/hList7"/>
    <dgm:cxn modelId="{07051418-308E-4135-8238-2E10B1A01E08}" type="presParOf" srcId="{FE630727-0D8D-468C-B91F-42DF26B9C0E7}" destId="{0E860E6D-4731-4A5F-9E9F-910CF5F20A24}" srcOrd="0" destOrd="0" presId="urn:microsoft.com/office/officeart/2005/8/layout/hList7"/>
    <dgm:cxn modelId="{1ACB05E9-BC6D-4A58-B828-036DDB5E0F76}" type="presParOf" srcId="{FE630727-0D8D-468C-B91F-42DF26B9C0E7}" destId="{CCFD3458-8103-4001-AD8E-39E8E5756ADE}" srcOrd="1" destOrd="0" presId="urn:microsoft.com/office/officeart/2005/8/layout/hList7"/>
    <dgm:cxn modelId="{22476325-EF5B-4309-83E3-5DFFF71DEF65}" type="presParOf" srcId="{FE630727-0D8D-468C-B91F-42DF26B9C0E7}" destId="{9EDA1601-5352-4DB1-81B8-D09A6BE3C7B8}" srcOrd="2" destOrd="0" presId="urn:microsoft.com/office/officeart/2005/8/layout/hList7"/>
    <dgm:cxn modelId="{81D07B91-9805-44D7-AD5B-A8C0A45CE58C}" type="presParOf" srcId="{FE630727-0D8D-468C-B91F-42DF26B9C0E7}" destId="{C107A9C0-D765-44E6-AFC3-F780F8FD5B75}"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060B08-8B58-463B-ADCE-F6F07F753396}" type="doc">
      <dgm:prSet loTypeId="urn:microsoft.com/office/officeart/2005/8/layout/process5" loCatId="process" qsTypeId="urn:microsoft.com/office/officeart/2005/8/quickstyle/simple1" qsCatId="simple" csTypeId="urn:microsoft.com/office/officeart/2005/8/colors/accent1_3" csCatId="accent1" phldr="1"/>
      <dgm:spPr/>
      <dgm:t>
        <a:bodyPr/>
        <a:lstStyle/>
        <a:p>
          <a:endParaRPr lang="en-US"/>
        </a:p>
      </dgm:t>
    </dgm:pt>
    <dgm:pt modelId="{FE5D6A4E-6F8A-4400-A940-96634FB3A535}">
      <dgm:prSet phldrT="[Text]"/>
      <dgm:spPr/>
      <dgm:t>
        <a:bodyPr/>
        <a:lstStyle/>
        <a:p>
          <a:r>
            <a:rPr lang="en-US" dirty="0">
              <a:solidFill>
                <a:schemeClr val="tx1"/>
              </a:solidFill>
              <a:latin typeface="Georgia" panose="02040502050405020303" pitchFamily="18" charset="0"/>
            </a:rPr>
            <a:t>Evaluate Current System Strengths/Gaps</a:t>
          </a:r>
        </a:p>
      </dgm:t>
    </dgm:pt>
    <dgm:pt modelId="{491B5166-021E-4234-B385-9DAD44BC3B01}" type="parTrans" cxnId="{F10877AE-6DD4-40D6-AB1D-62C55E22A465}">
      <dgm:prSet/>
      <dgm:spPr/>
      <dgm:t>
        <a:bodyPr/>
        <a:lstStyle/>
        <a:p>
          <a:endParaRPr lang="en-US"/>
        </a:p>
      </dgm:t>
    </dgm:pt>
    <dgm:pt modelId="{19858BA7-4E27-46D5-AF11-8572F6944D19}" type="sibTrans" cxnId="{F10877AE-6DD4-40D6-AB1D-62C55E22A465}">
      <dgm:prSet/>
      <dgm:spPr/>
      <dgm:t>
        <a:bodyPr/>
        <a:lstStyle/>
        <a:p>
          <a:endParaRPr lang="en-US"/>
        </a:p>
      </dgm:t>
    </dgm:pt>
    <dgm:pt modelId="{D91735C8-D5E7-46B4-B88E-613FA2486AD5}">
      <dgm:prSet phldrT="[Text]"/>
      <dgm:spPr/>
      <dgm:t>
        <a:bodyPr/>
        <a:lstStyle/>
        <a:p>
          <a:r>
            <a:rPr lang="en-US" dirty="0">
              <a:solidFill>
                <a:schemeClr val="tx1"/>
              </a:solidFill>
              <a:latin typeface="Georgia" panose="02040502050405020303" pitchFamily="18" charset="0"/>
            </a:rPr>
            <a:t>Identify Stakeholders</a:t>
          </a:r>
        </a:p>
      </dgm:t>
    </dgm:pt>
    <dgm:pt modelId="{542EF1EE-3273-48BF-B566-97660A63DFA6}" type="parTrans" cxnId="{434436F2-5BFB-47DA-A37D-43331811F466}">
      <dgm:prSet/>
      <dgm:spPr/>
      <dgm:t>
        <a:bodyPr/>
        <a:lstStyle/>
        <a:p>
          <a:endParaRPr lang="en-US"/>
        </a:p>
      </dgm:t>
    </dgm:pt>
    <dgm:pt modelId="{15192624-7CA5-4A39-A068-799DC8AC30CA}" type="sibTrans" cxnId="{434436F2-5BFB-47DA-A37D-43331811F466}">
      <dgm:prSet/>
      <dgm:spPr/>
      <dgm:t>
        <a:bodyPr/>
        <a:lstStyle/>
        <a:p>
          <a:endParaRPr lang="en-US"/>
        </a:p>
      </dgm:t>
    </dgm:pt>
    <dgm:pt modelId="{C4D9DC5C-6DE9-4812-8643-843BCE3272E3}">
      <dgm:prSet phldrT="[Text]"/>
      <dgm:spPr/>
      <dgm:t>
        <a:bodyPr/>
        <a:lstStyle/>
        <a:p>
          <a:r>
            <a:rPr lang="en-US" dirty="0">
              <a:solidFill>
                <a:schemeClr val="tx1"/>
              </a:solidFill>
              <a:latin typeface="Georgia" panose="02040502050405020303" pitchFamily="18" charset="0"/>
            </a:rPr>
            <a:t>Create a Budget</a:t>
          </a:r>
        </a:p>
      </dgm:t>
    </dgm:pt>
    <dgm:pt modelId="{31A51C1A-C330-486B-9D6D-F64071E8006F}" type="parTrans" cxnId="{A59DDD73-2D9B-43DE-BBDC-2DD90FCC9A7A}">
      <dgm:prSet/>
      <dgm:spPr/>
      <dgm:t>
        <a:bodyPr/>
        <a:lstStyle/>
        <a:p>
          <a:endParaRPr lang="en-US"/>
        </a:p>
      </dgm:t>
    </dgm:pt>
    <dgm:pt modelId="{DA30727C-3044-4555-B770-FD880D6143B7}" type="sibTrans" cxnId="{A59DDD73-2D9B-43DE-BBDC-2DD90FCC9A7A}">
      <dgm:prSet/>
      <dgm:spPr/>
      <dgm:t>
        <a:bodyPr/>
        <a:lstStyle/>
        <a:p>
          <a:endParaRPr lang="en-US"/>
        </a:p>
      </dgm:t>
    </dgm:pt>
    <dgm:pt modelId="{B4171270-D97C-4006-B8FC-8B0E1C21874D}">
      <dgm:prSet phldrT="[Text]"/>
      <dgm:spPr/>
      <dgm:t>
        <a:bodyPr/>
        <a:lstStyle/>
        <a:p>
          <a:r>
            <a:rPr lang="en-US" dirty="0">
              <a:solidFill>
                <a:schemeClr val="tx1"/>
              </a:solidFill>
              <a:latin typeface="Georgia" panose="02040502050405020303" pitchFamily="18" charset="0"/>
            </a:rPr>
            <a:t>Legal Team for Consents and Data Sharing</a:t>
          </a:r>
        </a:p>
      </dgm:t>
    </dgm:pt>
    <dgm:pt modelId="{22B669C7-0227-4149-A90C-424D2AA5675B}" type="parTrans" cxnId="{9075869F-530F-40AF-A7E2-1A96503FECB9}">
      <dgm:prSet/>
      <dgm:spPr/>
      <dgm:t>
        <a:bodyPr/>
        <a:lstStyle/>
        <a:p>
          <a:endParaRPr lang="en-US"/>
        </a:p>
      </dgm:t>
    </dgm:pt>
    <dgm:pt modelId="{95D40724-5CD6-45E7-A56C-53F53373EE97}" type="sibTrans" cxnId="{9075869F-530F-40AF-A7E2-1A96503FECB9}">
      <dgm:prSet/>
      <dgm:spPr/>
      <dgm:t>
        <a:bodyPr/>
        <a:lstStyle/>
        <a:p>
          <a:endParaRPr lang="en-US"/>
        </a:p>
      </dgm:t>
    </dgm:pt>
    <dgm:pt modelId="{91059DA0-1633-47CF-9EC0-79259FAF4500}">
      <dgm:prSet phldrT="[Text]"/>
      <dgm:spPr/>
      <dgm:t>
        <a:bodyPr/>
        <a:lstStyle/>
        <a:p>
          <a:r>
            <a:rPr lang="en-US" dirty="0">
              <a:solidFill>
                <a:schemeClr val="tx1"/>
              </a:solidFill>
              <a:latin typeface="Georgia" panose="02040502050405020303" pitchFamily="18" charset="0"/>
            </a:rPr>
            <a:t>Hire and Orient Community Health Nurses</a:t>
          </a:r>
        </a:p>
      </dgm:t>
    </dgm:pt>
    <dgm:pt modelId="{A51E2ADB-6590-49E8-8E47-D66934AF7FAD}" type="parTrans" cxnId="{85056743-C96E-445E-949A-7A967B203F37}">
      <dgm:prSet/>
      <dgm:spPr/>
      <dgm:t>
        <a:bodyPr/>
        <a:lstStyle/>
        <a:p>
          <a:endParaRPr lang="en-US"/>
        </a:p>
      </dgm:t>
    </dgm:pt>
    <dgm:pt modelId="{BDC4A10F-1D2F-47B9-93DC-F0ADB1E86F25}" type="sibTrans" cxnId="{85056743-C96E-445E-949A-7A967B203F37}">
      <dgm:prSet/>
      <dgm:spPr/>
      <dgm:t>
        <a:bodyPr/>
        <a:lstStyle/>
        <a:p>
          <a:endParaRPr lang="en-US"/>
        </a:p>
      </dgm:t>
    </dgm:pt>
    <dgm:pt modelId="{99D17A38-7E73-4B36-8CCC-2AF7F2A7E18E}">
      <dgm:prSet/>
      <dgm:spPr/>
      <dgm:t>
        <a:bodyPr/>
        <a:lstStyle/>
        <a:p>
          <a:r>
            <a:rPr lang="en-US" dirty="0">
              <a:solidFill>
                <a:schemeClr val="tx1"/>
              </a:solidFill>
              <a:latin typeface="Georgia" panose="02040502050405020303" pitchFamily="18" charset="0"/>
            </a:rPr>
            <a:t>Develop Documentation</a:t>
          </a:r>
        </a:p>
      </dgm:t>
    </dgm:pt>
    <dgm:pt modelId="{44486AC6-4128-4B04-A328-0B3AF0422AB0}" type="parTrans" cxnId="{55DA81A3-E35A-4CE0-ACDC-72FD55080D01}">
      <dgm:prSet/>
      <dgm:spPr/>
      <dgm:t>
        <a:bodyPr/>
        <a:lstStyle/>
        <a:p>
          <a:endParaRPr lang="en-US"/>
        </a:p>
      </dgm:t>
    </dgm:pt>
    <dgm:pt modelId="{0163BB9D-97E1-4C76-9CBB-5ED9E2D328AC}" type="sibTrans" cxnId="{55DA81A3-E35A-4CE0-ACDC-72FD55080D01}">
      <dgm:prSet/>
      <dgm:spPr/>
      <dgm:t>
        <a:bodyPr/>
        <a:lstStyle/>
        <a:p>
          <a:endParaRPr lang="en-US"/>
        </a:p>
      </dgm:t>
    </dgm:pt>
    <dgm:pt modelId="{FB0EF2D9-52F9-4697-AEB4-0235548D50DF}">
      <dgm:prSet/>
      <dgm:spPr/>
      <dgm:t>
        <a:bodyPr/>
        <a:lstStyle/>
        <a:p>
          <a:r>
            <a:rPr lang="en-US" dirty="0">
              <a:solidFill>
                <a:schemeClr val="tx1"/>
              </a:solidFill>
              <a:latin typeface="Georgia" panose="02040502050405020303" pitchFamily="18" charset="0"/>
            </a:rPr>
            <a:t>Develop Workflows</a:t>
          </a:r>
        </a:p>
      </dgm:t>
    </dgm:pt>
    <dgm:pt modelId="{C2DE9DC3-BAE7-430D-B526-262F3366DC78}" type="parTrans" cxnId="{828A9120-F4B2-48D7-89C3-0B5AEEA34545}">
      <dgm:prSet/>
      <dgm:spPr/>
      <dgm:t>
        <a:bodyPr/>
        <a:lstStyle/>
        <a:p>
          <a:endParaRPr lang="en-US"/>
        </a:p>
      </dgm:t>
    </dgm:pt>
    <dgm:pt modelId="{C0C9B34A-A29E-4500-BD29-EFF01C955DEA}" type="sibTrans" cxnId="{828A9120-F4B2-48D7-89C3-0B5AEEA34545}">
      <dgm:prSet/>
      <dgm:spPr/>
      <dgm:t>
        <a:bodyPr/>
        <a:lstStyle/>
        <a:p>
          <a:endParaRPr lang="en-US"/>
        </a:p>
      </dgm:t>
    </dgm:pt>
    <dgm:pt modelId="{57FAE97D-1C22-47EF-B15C-76877D1CE7AC}">
      <dgm:prSet/>
      <dgm:spPr/>
      <dgm:t>
        <a:bodyPr/>
        <a:lstStyle/>
        <a:p>
          <a:r>
            <a:rPr lang="en-US" dirty="0">
              <a:solidFill>
                <a:schemeClr val="tx1"/>
              </a:solidFill>
              <a:latin typeface="Georgia" panose="02040502050405020303" pitchFamily="18" charset="0"/>
            </a:rPr>
            <a:t>Marketing</a:t>
          </a:r>
        </a:p>
      </dgm:t>
    </dgm:pt>
    <dgm:pt modelId="{04C15D00-8468-401E-8C16-478F0D3C1ACD}" type="parTrans" cxnId="{9F0C96D7-5E74-431B-AF26-56BD82108CAD}">
      <dgm:prSet/>
      <dgm:spPr/>
      <dgm:t>
        <a:bodyPr/>
        <a:lstStyle/>
        <a:p>
          <a:endParaRPr lang="en-US"/>
        </a:p>
      </dgm:t>
    </dgm:pt>
    <dgm:pt modelId="{7FC475B2-07A8-442F-8FA3-4D23CCABE9B5}" type="sibTrans" cxnId="{9F0C96D7-5E74-431B-AF26-56BD82108CAD}">
      <dgm:prSet/>
      <dgm:spPr/>
      <dgm:t>
        <a:bodyPr/>
        <a:lstStyle/>
        <a:p>
          <a:endParaRPr lang="en-US"/>
        </a:p>
      </dgm:t>
    </dgm:pt>
    <dgm:pt modelId="{41B4EAAF-CC5A-4CEC-B69F-54EFCAAD0DE1}">
      <dgm:prSet/>
      <dgm:spPr/>
      <dgm:t>
        <a:bodyPr/>
        <a:lstStyle/>
        <a:p>
          <a:r>
            <a:rPr lang="en-US" dirty="0">
              <a:solidFill>
                <a:schemeClr val="tx1"/>
              </a:solidFill>
              <a:latin typeface="Georgia" panose="02040502050405020303" pitchFamily="18" charset="0"/>
            </a:rPr>
            <a:t>System for Referrals</a:t>
          </a:r>
        </a:p>
      </dgm:t>
    </dgm:pt>
    <dgm:pt modelId="{AE64D93B-B136-453C-9CF6-8BD853E7D533}" type="parTrans" cxnId="{49A01094-AD3B-462A-9C3B-7C1ECA9FC42C}">
      <dgm:prSet/>
      <dgm:spPr/>
      <dgm:t>
        <a:bodyPr/>
        <a:lstStyle/>
        <a:p>
          <a:endParaRPr lang="en-US"/>
        </a:p>
      </dgm:t>
    </dgm:pt>
    <dgm:pt modelId="{43B95353-553D-4015-B83D-6731FA1B86B7}" type="sibTrans" cxnId="{49A01094-AD3B-462A-9C3B-7C1ECA9FC42C}">
      <dgm:prSet/>
      <dgm:spPr/>
      <dgm:t>
        <a:bodyPr/>
        <a:lstStyle/>
        <a:p>
          <a:endParaRPr lang="en-US"/>
        </a:p>
      </dgm:t>
    </dgm:pt>
    <dgm:pt modelId="{8A626C5E-8708-462E-AED0-42B5AC7C1D37}">
      <dgm:prSet/>
      <dgm:spPr/>
      <dgm:t>
        <a:bodyPr/>
        <a:lstStyle/>
        <a:p>
          <a:r>
            <a:rPr lang="en-US" dirty="0">
              <a:solidFill>
                <a:schemeClr val="tx1"/>
              </a:solidFill>
              <a:latin typeface="Georgia" panose="02040502050405020303" pitchFamily="18" charset="0"/>
            </a:rPr>
            <a:t>Ensure Nurse Safety at Visits</a:t>
          </a:r>
        </a:p>
      </dgm:t>
    </dgm:pt>
    <dgm:pt modelId="{BFCB84E2-1CC4-4F28-B62F-E30AA45D3DE4}" type="parTrans" cxnId="{EC7A5874-3210-4C49-95C3-8595E89296F8}">
      <dgm:prSet/>
      <dgm:spPr/>
      <dgm:t>
        <a:bodyPr/>
        <a:lstStyle/>
        <a:p>
          <a:endParaRPr lang="en-US"/>
        </a:p>
      </dgm:t>
    </dgm:pt>
    <dgm:pt modelId="{B9B65918-1D92-41DA-BD59-0932D62A9063}" type="sibTrans" cxnId="{EC7A5874-3210-4C49-95C3-8595E89296F8}">
      <dgm:prSet/>
      <dgm:spPr/>
      <dgm:t>
        <a:bodyPr/>
        <a:lstStyle/>
        <a:p>
          <a:endParaRPr lang="en-US"/>
        </a:p>
      </dgm:t>
    </dgm:pt>
    <dgm:pt modelId="{31FA0A19-42E3-4A1B-A442-3BCB7D19AD65}">
      <dgm:prSet/>
      <dgm:spPr/>
      <dgm:t>
        <a:bodyPr/>
        <a:lstStyle/>
        <a:p>
          <a:r>
            <a:rPr lang="en-US" dirty="0">
              <a:solidFill>
                <a:schemeClr val="tx1"/>
              </a:solidFill>
              <a:latin typeface="Georgia" panose="02040502050405020303" pitchFamily="18" charset="0"/>
            </a:rPr>
            <a:t>Evaluation</a:t>
          </a:r>
        </a:p>
      </dgm:t>
    </dgm:pt>
    <dgm:pt modelId="{5A54BCAF-D3A2-498C-A26F-89D3678348C0}" type="parTrans" cxnId="{3DE52A47-0DDE-4950-8E84-D2F19C6C3FE6}">
      <dgm:prSet/>
      <dgm:spPr/>
      <dgm:t>
        <a:bodyPr/>
        <a:lstStyle/>
        <a:p>
          <a:endParaRPr lang="en-US"/>
        </a:p>
      </dgm:t>
    </dgm:pt>
    <dgm:pt modelId="{54DA926D-A8F1-455D-BDCA-6B77ABC3E486}" type="sibTrans" cxnId="{3DE52A47-0DDE-4950-8E84-D2F19C6C3FE6}">
      <dgm:prSet/>
      <dgm:spPr/>
      <dgm:t>
        <a:bodyPr/>
        <a:lstStyle/>
        <a:p>
          <a:endParaRPr lang="en-US"/>
        </a:p>
      </dgm:t>
    </dgm:pt>
    <dgm:pt modelId="{8017096C-1DA1-4316-9157-2504C3B6B317}">
      <dgm:prSet/>
      <dgm:spPr/>
      <dgm:t>
        <a:bodyPr/>
        <a:lstStyle/>
        <a:p>
          <a:r>
            <a:rPr lang="en-US" dirty="0">
              <a:solidFill>
                <a:schemeClr val="tx1"/>
              </a:solidFill>
              <a:latin typeface="Georgia" panose="02040502050405020303" pitchFamily="18" charset="0"/>
            </a:rPr>
            <a:t>Inform and Educate Providers and Inpatient Staff</a:t>
          </a:r>
        </a:p>
      </dgm:t>
    </dgm:pt>
    <dgm:pt modelId="{63DD5DD4-BE8C-47BF-89D0-DC52D0B7FF35}" type="parTrans" cxnId="{F68D4C73-30AD-4868-9F29-FB9231D470D6}">
      <dgm:prSet/>
      <dgm:spPr/>
      <dgm:t>
        <a:bodyPr/>
        <a:lstStyle/>
        <a:p>
          <a:endParaRPr lang="en-US"/>
        </a:p>
      </dgm:t>
    </dgm:pt>
    <dgm:pt modelId="{372159DB-A813-4A8F-B059-3154AEE85A96}" type="sibTrans" cxnId="{F68D4C73-30AD-4868-9F29-FB9231D470D6}">
      <dgm:prSet/>
      <dgm:spPr/>
      <dgm:t>
        <a:bodyPr/>
        <a:lstStyle/>
        <a:p>
          <a:endParaRPr lang="en-US"/>
        </a:p>
      </dgm:t>
    </dgm:pt>
    <dgm:pt modelId="{6EADE148-087E-49B8-8AB4-537941386E2E}" type="pres">
      <dgm:prSet presAssocID="{FF060B08-8B58-463B-ADCE-F6F07F753396}" presName="diagram" presStyleCnt="0">
        <dgm:presLayoutVars>
          <dgm:dir/>
          <dgm:resizeHandles val="exact"/>
        </dgm:presLayoutVars>
      </dgm:prSet>
      <dgm:spPr/>
    </dgm:pt>
    <dgm:pt modelId="{4E91745E-64BA-43E9-99F9-610D6A6096DE}" type="pres">
      <dgm:prSet presAssocID="{FE5D6A4E-6F8A-4400-A940-96634FB3A535}" presName="node" presStyleLbl="node1" presStyleIdx="0" presStyleCnt="12">
        <dgm:presLayoutVars>
          <dgm:bulletEnabled val="1"/>
        </dgm:presLayoutVars>
      </dgm:prSet>
      <dgm:spPr/>
    </dgm:pt>
    <dgm:pt modelId="{D7A43FCB-C96A-4A7E-B3AA-0CDF7C0762F5}" type="pres">
      <dgm:prSet presAssocID="{19858BA7-4E27-46D5-AF11-8572F6944D19}" presName="sibTrans" presStyleLbl="sibTrans2D1" presStyleIdx="0" presStyleCnt="11"/>
      <dgm:spPr/>
    </dgm:pt>
    <dgm:pt modelId="{62D3BA96-BA74-49D8-B164-F31E6964ABC5}" type="pres">
      <dgm:prSet presAssocID="{19858BA7-4E27-46D5-AF11-8572F6944D19}" presName="connectorText" presStyleLbl="sibTrans2D1" presStyleIdx="0" presStyleCnt="11"/>
      <dgm:spPr/>
    </dgm:pt>
    <dgm:pt modelId="{096F7E57-2E6F-48A8-95D8-304CBBB4E917}" type="pres">
      <dgm:prSet presAssocID="{D91735C8-D5E7-46B4-B88E-613FA2486AD5}" presName="node" presStyleLbl="node1" presStyleIdx="1" presStyleCnt="12">
        <dgm:presLayoutVars>
          <dgm:bulletEnabled val="1"/>
        </dgm:presLayoutVars>
      </dgm:prSet>
      <dgm:spPr/>
    </dgm:pt>
    <dgm:pt modelId="{DE6D5FD1-D30C-4904-BD7E-51557C49066C}" type="pres">
      <dgm:prSet presAssocID="{15192624-7CA5-4A39-A068-799DC8AC30CA}" presName="sibTrans" presStyleLbl="sibTrans2D1" presStyleIdx="1" presStyleCnt="11"/>
      <dgm:spPr/>
    </dgm:pt>
    <dgm:pt modelId="{66BD3793-DF1C-4DEB-A7E6-52BD2F478425}" type="pres">
      <dgm:prSet presAssocID="{15192624-7CA5-4A39-A068-799DC8AC30CA}" presName="connectorText" presStyleLbl="sibTrans2D1" presStyleIdx="1" presStyleCnt="11"/>
      <dgm:spPr/>
    </dgm:pt>
    <dgm:pt modelId="{1CC3C813-5517-479F-9FD3-8ABC40AD6FAD}" type="pres">
      <dgm:prSet presAssocID="{C4D9DC5C-6DE9-4812-8643-843BCE3272E3}" presName="node" presStyleLbl="node1" presStyleIdx="2" presStyleCnt="12" custLinFactNeighborY="-3754">
        <dgm:presLayoutVars>
          <dgm:bulletEnabled val="1"/>
        </dgm:presLayoutVars>
      </dgm:prSet>
      <dgm:spPr/>
    </dgm:pt>
    <dgm:pt modelId="{1E31B5B1-1A3C-4173-BAA5-C6E1EB090B85}" type="pres">
      <dgm:prSet presAssocID="{DA30727C-3044-4555-B770-FD880D6143B7}" presName="sibTrans" presStyleLbl="sibTrans2D1" presStyleIdx="2" presStyleCnt="11"/>
      <dgm:spPr/>
    </dgm:pt>
    <dgm:pt modelId="{FAC29B20-6217-4958-8E8C-4158223885A3}" type="pres">
      <dgm:prSet presAssocID="{DA30727C-3044-4555-B770-FD880D6143B7}" presName="connectorText" presStyleLbl="sibTrans2D1" presStyleIdx="2" presStyleCnt="11"/>
      <dgm:spPr/>
    </dgm:pt>
    <dgm:pt modelId="{76271DA3-F7EC-4480-9BFE-3739B0259132}" type="pres">
      <dgm:prSet presAssocID="{B4171270-D97C-4006-B8FC-8B0E1C21874D}" presName="node" presStyleLbl="node1" presStyleIdx="3" presStyleCnt="12">
        <dgm:presLayoutVars>
          <dgm:bulletEnabled val="1"/>
        </dgm:presLayoutVars>
      </dgm:prSet>
      <dgm:spPr/>
    </dgm:pt>
    <dgm:pt modelId="{3F6E7EB0-9818-44A3-BCC5-DAA349EE6926}" type="pres">
      <dgm:prSet presAssocID="{95D40724-5CD6-45E7-A56C-53F53373EE97}" presName="sibTrans" presStyleLbl="sibTrans2D1" presStyleIdx="3" presStyleCnt="11"/>
      <dgm:spPr/>
    </dgm:pt>
    <dgm:pt modelId="{6EC011F4-433C-4B74-B5CB-B68953294FF3}" type="pres">
      <dgm:prSet presAssocID="{95D40724-5CD6-45E7-A56C-53F53373EE97}" presName="connectorText" presStyleLbl="sibTrans2D1" presStyleIdx="3" presStyleCnt="11"/>
      <dgm:spPr/>
    </dgm:pt>
    <dgm:pt modelId="{9BEEFFA6-8BA9-4ACC-BA73-FB1B305C41ED}" type="pres">
      <dgm:prSet presAssocID="{91059DA0-1633-47CF-9EC0-79259FAF4500}" presName="node" presStyleLbl="node1" presStyleIdx="4" presStyleCnt="12">
        <dgm:presLayoutVars>
          <dgm:bulletEnabled val="1"/>
        </dgm:presLayoutVars>
      </dgm:prSet>
      <dgm:spPr/>
    </dgm:pt>
    <dgm:pt modelId="{87A6D8AB-FFC8-450D-8766-5404E9621FC9}" type="pres">
      <dgm:prSet presAssocID="{BDC4A10F-1D2F-47B9-93DC-F0ADB1E86F25}" presName="sibTrans" presStyleLbl="sibTrans2D1" presStyleIdx="4" presStyleCnt="11"/>
      <dgm:spPr/>
    </dgm:pt>
    <dgm:pt modelId="{B3E242B1-35A4-4768-ABE1-EB98A39B4675}" type="pres">
      <dgm:prSet presAssocID="{BDC4A10F-1D2F-47B9-93DC-F0ADB1E86F25}" presName="connectorText" presStyleLbl="sibTrans2D1" presStyleIdx="4" presStyleCnt="11"/>
      <dgm:spPr/>
    </dgm:pt>
    <dgm:pt modelId="{BFA35643-D34C-4235-B62F-59D84C89D0AA}" type="pres">
      <dgm:prSet presAssocID="{99D17A38-7E73-4B36-8CCC-2AF7F2A7E18E}" presName="node" presStyleLbl="node1" presStyleIdx="5" presStyleCnt="12">
        <dgm:presLayoutVars>
          <dgm:bulletEnabled val="1"/>
        </dgm:presLayoutVars>
      </dgm:prSet>
      <dgm:spPr/>
    </dgm:pt>
    <dgm:pt modelId="{1D409F16-C764-41B9-B305-B84D4EB3F463}" type="pres">
      <dgm:prSet presAssocID="{0163BB9D-97E1-4C76-9CBB-5ED9E2D328AC}" presName="sibTrans" presStyleLbl="sibTrans2D1" presStyleIdx="5" presStyleCnt="11"/>
      <dgm:spPr/>
    </dgm:pt>
    <dgm:pt modelId="{7BC0B44C-FDCD-4FA5-B8BE-857BE17DB9FF}" type="pres">
      <dgm:prSet presAssocID="{0163BB9D-97E1-4C76-9CBB-5ED9E2D328AC}" presName="connectorText" presStyleLbl="sibTrans2D1" presStyleIdx="5" presStyleCnt="11"/>
      <dgm:spPr/>
    </dgm:pt>
    <dgm:pt modelId="{115C8653-665E-420E-AA74-6720CE5B4B22}" type="pres">
      <dgm:prSet presAssocID="{FB0EF2D9-52F9-4697-AEB4-0235548D50DF}" presName="node" presStyleLbl="node1" presStyleIdx="6" presStyleCnt="12">
        <dgm:presLayoutVars>
          <dgm:bulletEnabled val="1"/>
        </dgm:presLayoutVars>
      </dgm:prSet>
      <dgm:spPr/>
    </dgm:pt>
    <dgm:pt modelId="{32C0D73D-6C23-4590-AEBC-FD7AE2B46B3E}" type="pres">
      <dgm:prSet presAssocID="{C0C9B34A-A29E-4500-BD29-EFF01C955DEA}" presName="sibTrans" presStyleLbl="sibTrans2D1" presStyleIdx="6" presStyleCnt="11"/>
      <dgm:spPr/>
    </dgm:pt>
    <dgm:pt modelId="{D6D06F9E-F8FF-493A-847C-BEA4507ECAFB}" type="pres">
      <dgm:prSet presAssocID="{C0C9B34A-A29E-4500-BD29-EFF01C955DEA}" presName="connectorText" presStyleLbl="sibTrans2D1" presStyleIdx="6" presStyleCnt="11"/>
      <dgm:spPr/>
    </dgm:pt>
    <dgm:pt modelId="{61E3B8C7-BC70-4395-ADDD-3E33CA714396}" type="pres">
      <dgm:prSet presAssocID="{57FAE97D-1C22-47EF-B15C-76877D1CE7AC}" presName="node" presStyleLbl="node1" presStyleIdx="7" presStyleCnt="12">
        <dgm:presLayoutVars>
          <dgm:bulletEnabled val="1"/>
        </dgm:presLayoutVars>
      </dgm:prSet>
      <dgm:spPr/>
    </dgm:pt>
    <dgm:pt modelId="{A8890028-D392-4DC3-AF6D-A2E28CBF74C5}" type="pres">
      <dgm:prSet presAssocID="{7FC475B2-07A8-442F-8FA3-4D23CCABE9B5}" presName="sibTrans" presStyleLbl="sibTrans2D1" presStyleIdx="7" presStyleCnt="11"/>
      <dgm:spPr/>
    </dgm:pt>
    <dgm:pt modelId="{1AD46F65-CA38-4E62-A8BB-1A9CFE10E6BB}" type="pres">
      <dgm:prSet presAssocID="{7FC475B2-07A8-442F-8FA3-4D23CCABE9B5}" presName="connectorText" presStyleLbl="sibTrans2D1" presStyleIdx="7" presStyleCnt="11"/>
      <dgm:spPr/>
    </dgm:pt>
    <dgm:pt modelId="{8B18FEBC-F321-4626-8AD9-3FCDB1C8F51C}" type="pres">
      <dgm:prSet presAssocID="{41B4EAAF-CC5A-4CEC-B69F-54EFCAAD0DE1}" presName="node" presStyleLbl="node1" presStyleIdx="8" presStyleCnt="12">
        <dgm:presLayoutVars>
          <dgm:bulletEnabled val="1"/>
        </dgm:presLayoutVars>
      </dgm:prSet>
      <dgm:spPr/>
    </dgm:pt>
    <dgm:pt modelId="{770A589E-3D19-4075-ACC7-EC764512294C}" type="pres">
      <dgm:prSet presAssocID="{43B95353-553D-4015-B83D-6731FA1B86B7}" presName="sibTrans" presStyleLbl="sibTrans2D1" presStyleIdx="8" presStyleCnt="11"/>
      <dgm:spPr/>
    </dgm:pt>
    <dgm:pt modelId="{605AC43B-4248-4263-87E2-4ADA566BE751}" type="pres">
      <dgm:prSet presAssocID="{43B95353-553D-4015-B83D-6731FA1B86B7}" presName="connectorText" presStyleLbl="sibTrans2D1" presStyleIdx="8" presStyleCnt="11"/>
      <dgm:spPr/>
    </dgm:pt>
    <dgm:pt modelId="{D18935A9-0116-46A2-8843-92C65DA6E7AA}" type="pres">
      <dgm:prSet presAssocID="{8A626C5E-8708-462E-AED0-42B5AC7C1D37}" presName="node" presStyleLbl="node1" presStyleIdx="9" presStyleCnt="12">
        <dgm:presLayoutVars>
          <dgm:bulletEnabled val="1"/>
        </dgm:presLayoutVars>
      </dgm:prSet>
      <dgm:spPr/>
    </dgm:pt>
    <dgm:pt modelId="{EB7CA03E-F1EA-4D2F-AB1C-AC95D9549017}" type="pres">
      <dgm:prSet presAssocID="{B9B65918-1D92-41DA-BD59-0932D62A9063}" presName="sibTrans" presStyleLbl="sibTrans2D1" presStyleIdx="9" presStyleCnt="11"/>
      <dgm:spPr/>
    </dgm:pt>
    <dgm:pt modelId="{401B325F-A35D-4A95-B323-7C80AE803E9C}" type="pres">
      <dgm:prSet presAssocID="{B9B65918-1D92-41DA-BD59-0932D62A9063}" presName="connectorText" presStyleLbl="sibTrans2D1" presStyleIdx="9" presStyleCnt="11"/>
      <dgm:spPr/>
    </dgm:pt>
    <dgm:pt modelId="{66F02E46-44AB-494B-AEBB-15B2669CD6D1}" type="pres">
      <dgm:prSet presAssocID="{8017096C-1DA1-4316-9157-2504C3B6B317}" presName="node" presStyleLbl="node1" presStyleIdx="10" presStyleCnt="12">
        <dgm:presLayoutVars>
          <dgm:bulletEnabled val="1"/>
        </dgm:presLayoutVars>
      </dgm:prSet>
      <dgm:spPr/>
    </dgm:pt>
    <dgm:pt modelId="{EAD5E8FB-EDC0-49B5-A2B5-6342C135AD23}" type="pres">
      <dgm:prSet presAssocID="{372159DB-A813-4A8F-B059-3154AEE85A96}" presName="sibTrans" presStyleLbl="sibTrans2D1" presStyleIdx="10" presStyleCnt="11"/>
      <dgm:spPr/>
    </dgm:pt>
    <dgm:pt modelId="{CE2F4C05-D3B0-4FAA-A73B-AB9EA137A7D1}" type="pres">
      <dgm:prSet presAssocID="{372159DB-A813-4A8F-B059-3154AEE85A96}" presName="connectorText" presStyleLbl="sibTrans2D1" presStyleIdx="10" presStyleCnt="11"/>
      <dgm:spPr/>
    </dgm:pt>
    <dgm:pt modelId="{F380F59B-16B9-4996-84B3-E9E608BDFA30}" type="pres">
      <dgm:prSet presAssocID="{31FA0A19-42E3-4A1B-A442-3BCB7D19AD65}" presName="node" presStyleLbl="node1" presStyleIdx="11" presStyleCnt="12">
        <dgm:presLayoutVars>
          <dgm:bulletEnabled val="1"/>
        </dgm:presLayoutVars>
      </dgm:prSet>
      <dgm:spPr/>
    </dgm:pt>
  </dgm:ptLst>
  <dgm:cxnLst>
    <dgm:cxn modelId="{D8FB220A-C1AF-4E43-A8DC-436AA993599C}" type="presOf" srcId="{372159DB-A813-4A8F-B059-3154AEE85A96}" destId="{EAD5E8FB-EDC0-49B5-A2B5-6342C135AD23}" srcOrd="0" destOrd="0" presId="urn:microsoft.com/office/officeart/2005/8/layout/process5"/>
    <dgm:cxn modelId="{4398590A-9C1B-4512-BAFF-74CDA73DA528}" type="presOf" srcId="{C0C9B34A-A29E-4500-BD29-EFF01C955DEA}" destId="{32C0D73D-6C23-4590-AEBC-FD7AE2B46B3E}" srcOrd="0" destOrd="0" presId="urn:microsoft.com/office/officeart/2005/8/layout/process5"/>
    <dgm:cxn modelId="{43E9520B-85C7-4930-A82C-8FDCF4A74573}" type="presOf" srcId="{95D40724-5CD6-45E7-A56C-53F53373EE97}" destId="{6EC011F4-433C-4B74-B5CB-B68953294FF3}" srcOrd="1" destOrd="0" presId="urn:microsoft.com/office/officeart/2005/8/layout/process5"/>
    <dgm:cxn modelId="{C37EE90F-C57B-489D-802E-B6DDF4B09973}" type="presOf" srcId="{15192624-7CA5-4A39-A068-799DC8AC30CA}" destId="{DE6D5FD1-D30C-4904-BD7E-51557C49066C}" srcOrd="0" destOrd="0" presId="urn:microsoft.com/office/officeart/2005/8/layout/process5"/>
    <dgm:cxn modelId="{ACDA9C10-F8CD-41DC-BA0E-5A23FF9395C6}" type="presOf" srcId="{31FA0A19-42E3-4A1B-A442-3BCB7D19AD65}" destId="{F380F59B-16B9-4996-84B3-E9E608BDFA30}" srcOrd="0" destOrd="0" presId="urn:microsoft.com/office/officeart/2005/8/layout/process5"/>
    <dgm:cxn modelId="{AE0AF416-BDFB-4FA0-B258-8E3B7C30CD57}" type="presOf" srcId="{372159DB-A813-4A8F-B059-3154AEE85A96}" destId="{CE2F4C05-D3B0-4FAA-A73B-AB9EA137A7D1}" srcOrd="1" destOrd="0" presId="urn:microsoft.com/office/officeart/2005/8/layout/process5"/>
    <dgm:cxn modelId="{2DA28D1E-F7B1-4CBF-A68F-CE1355107570}" type="presOf" srcId="{DA30727C-3044-4555-B770-FD880D6143B7}" destId="{FAC29B20-6217-4958-8E8C-4158223885A3}" srcOrd="1" destOrd="0" presId="urn:microsoft.com/office/officeart/2005/8/layout/process5"/>
    <dgm:cxn modelId="{4350A51F-1020-42FB-9EF3-63017F698E92}" type="presOf" srcId="{57FAE97D-1C22-47EF-B15C-76877D1CE7AC}" destId="{61E3B8C7-BC70-4395-ADDD-3E33CA714396}" srcOrd="0" destOrd="0" presId="urn:microsoft.com/office/officeart/2005/8/layout/process5"/>
    <dgm:cxn modelId="{828A9120-F4B2-48D7-89C3-0B5AEEA34545}" srcId="{FF060B08-8B58-463B-ADCE-F6F07F753396}" destId="{FB0EF2D9-52F9-4697-AEB4-0235548D50DF}" srcOrd="6" destOrd="0" parTransId="{C2DE9DC3-BAE7-430D-B526-262F3366DC78}" sibTransId="{C0C9B34A-A29E-4500-BD29-EFF01C955DEA}"/>
    <dgm:cxn modelId="{A61FA22E-CD33-488F-9299-2269A087CD60}" type="presOf" srcId="{91059DA0-1633-47CF-9EC0-79259FAF4500}" destId="{9BEEFFA6-8BA9-4ACC-BA73-FB1B305C41ED}" srcOrd="0" destOrd="0" presId="urn:microsoft.com/office/officeart/2005/8/layout/process5"/>
    <dgm:cxn modelId="{08D7CE2E-ABEF-49BC-8DAB-69C054EA2C2B}" type="presOf" srcId="{41B4EAAF-CC5A-4CEC-B69F-54EFCAAD0DE1}" destId="{8B18FEBC-F321-4626-8AD9-3FCDB1C8F51C}" srcOrd="0" destOrd="0" presId="urn:microsoft.com/office/officeart/2005/8/layout/process5"/>
    <dgm:cxn modelId="{A769003F-995E-40CB-8DFB-E5E9478ED51B}" type="presOf" srcId="{BDC4A10F-1D2F-47B9-93DC-F0ADB1E86F25}" destId="{B3E242B1-35A4-4768-ABE1-EB98A39B4675}" srcOrd="1" destOrd="0" presId="urn:microsoft.com/office/officeart/2005/8/layout/process5"/>
    <dgm:cxn modelId="{852DE83F-86FC-4794-AF71-CDB811C55D2B}" type="presOf" srcId="{43B95353-553D-4015-B83D-6731FA1B86B7}" destId="{605AC43B-4248-4263-87E2-4ADA566BE751}" srcOrd="1" destOrd="0" presId="urn:microsoft.com/office/officeart/2005/8/layout/process5"/>
    <dgm:cxn modelId="{D277AC40-870D-4E49-A895-4E757D6E2EE4}" type="presOf" srcId="{D91735C8-D5E7-46B4-B88E-613FA2486AD5}" destId="{096F7E57-2E6F-48A8-95D8-304CBBB4E917}" srcOrd="0" destOrd="0" presId="urn:microsoft.com/office/officeart/2005/8/layout/process5"/>
    <dgm:cxn modelId="{FF92235B-148C-4480-9C26-467316D9ADDC}" type="presOf" srcId="{B9B65918-1D92-41DA-BD59-0932D62A9063}" destId="{EB7CA03E-F1EA-4D2F-AB1C-AC95D9549017}" srcOrd="0" destOrd="0" presId="urn:microsoft.com/office/officeart/2005/8/layout/process5"/>
    <dgm:cxn modelId="{3708445C-F2B2-4818-9113-7C3C1E331730}" type="presOf" srcId="{0163BB9D-97E1-4C76-9CBB-5ED9E2D328AC}" destId="{1D409F16-C764-41B9-B305-B84D4EB3F463}" srcOrd="0" destOrd="0" presId="urn:microsoft.com/office/officeart/2005/8/layout/process5"/>
    <dgm:cxn modelId="{5B711A61-8AA9-479C-B880-070D0F143598}" type="presOf" srcId="{FF060B08-8B58-463B-ADCE-F6F07F753396}" destId="{6EADE148-087E-49B8-8AB4-537941386E2E}" srcOrd="0" destOrd="0" presId="urn:microsoft.com/office/officeart/2005/8/layout/process5"/>
    <dgm:cxn modelId="{85056743-C96E-445E-949A-7A967B203F37}" srcId="{FF060B08-8B58-463B-ADCE-F6F07F753396}" destId="{91059DA0-1633-47CF-9EC0-79259FAF4500}" srcOrd="4" destOrd="0" parTransId="{A51E2ADB-6590-49E8-8E47-D66934AF7FAD}" sibTransId="{BDC4A10F-1D2F-47B9-93DC-F0ADB1E86F25}"/>
    <dgm:cxn modelId="{8AF32245-EDAA-486B-A283-054BDF9FF11B}" type="presOf" srcId="{B4171270-D97C-4006-B8FC-8B0E1C21874D}" destId="{76271DA3-F7EC-4480-9BFE-3739B0259132}" srcOrd="0" destOrd="0" presId="urn:microsoft.com/office/officeart/2005/8/layout/process5"/>
    <dgm:cxn modelId="{4CDC1567-6D8E-4DD3-B69C-DA7459437B38}" type="presOf" srcId="{FB0EF2D9-52F9-4697-AEB4-0235548D50DF}" destId="{115C8653-665E-420E-AA74-6720CE5B4B22}" srcOrd="0" destOrd="0" presId="urn:microsoft.com/office/officeart/2005/8/layout/process5"/>
    <dgm:cxn modelId="{3DE52A47-0DDE-4950-8E84-D2F19C6C3FE6}" srcId="{FF060B08-8B58-463B-ADCE-F6F07F753396}" destId="{31FA0A19-42E3-4A1B-A442-3BCB7D19AD65}" srcOrd="11" destOrd="0" parTransId="{5A54BCAF-D3A2-498C-A26F-89D3678348C0}" sibTransId="{54DA926D-A8F1-455D-BDCA-6B77ABC3E486}"/>
    <dgm:cxn modelId="{1740B448-50FF-4ED1-B716-341707C17DC9}" type="presOf" srcId="{DA30727C-3044-4555-B770-FD880D6143B7}" destId="{1E31B5B1-1A3C-4173-BAA5-C6E1EB090B85}" srcOrd="0" destOrd="0" presId="urn:microsoft.com/office/officeart/2005/8/layout/process5"/>
    <dgm:cxn modelId="{B1D4084A-3EC3-497E-8C48-FD2CA206545E}" type="presOf" srcId="{C0C9B34A-A29E-4500-BD29-EFF01C955DEA}" destId="{D6D06F9E-F8FF-493A-847C-BEA4507ECAFB}" srcOrd="1" destOrd="0" presId="urn:microsoft.com/office/officeart/2005/8/layout/process5"/>
    <dgm:cxn modelId="{7FD5FD51-0BC6-442A-A5B3-B103CAAB95B1}" type="presOf" srcId="{BDC4A10F-1D2F-47B9-93DC-F0ADB1E86F25}" destId="{87A6D8AB-FFC8-450D-8766-5404E9621FC9}" srcOrd="0" destOrd="0" presId="urn:microsoft.com/office/officeart/2005/8/layout/process5"/>
    <dgm:cxn modelId="{9E90E172-10E3-4747-B46C-33836921EB8C}" type="presOf" srcId="{19858BA7-4E27-46D5-AF11-8572F6944D19}" destId="{D7A43FCB-C96A-4A7E-B3AA-0CDF7C0762F5}" srcOrd="0" destOrd="0" presId="urn:microsoft.com/office/officeart/2005/8/layout/process5"/>
    <dgm:cxn modelId="{F68D4C73-30AD-4868-9F29-FB9231D470D6}" srcId="{FF060B08-8B58-463B-ADCE-F6F07F753396}" destId="{8017096C-1DA1-4316-9157-2504C3B6B317}" srcOrd="10" destOrd="0" parTransId="{63DD5DD4-BE8C-47BF-89D0-DC52D0B7FF35}" sibTransId="{372159DB-A813-4A8F-B059-3154AEE85A96}"/>
    <dgm:cxn modelId="{A59DDD73-2D9B-43DE-BBDC-2DD90FCC9A7A}" srcId="{FF060B08-8B58-463B-ADCE-F6F07F753396}" destId="{C4D9DC5C-6DE9-4812-8643-843BCE3272E3}" srcOrd="2" destOrd="0" parTransId="{31A51C1A-C330-486B-9D6D-F64071E8006F}" sibTransId="{DA30727C-3044-4555-B770-FD880D6143B7}"/>
    <dgm:cxn modelId="{EC7A5874-3210-4C49-95C3-8595E89296F8}" srcId="{FF060B08-8B58-463B-ADCE-F6F07F753396}" destId="{8A626C5E-8708-462E-AED0-42B5AC7C1D37}" srcOrd="9" destOrd="0" parTransId="{BFCB84E2-1CC4-4F28-B62F-E30AA45D3DE4}" sibTransId="{B9B65918-1D92-41DA-BD59-0932D62A9063}"/>
    <dgm:cxn modelId="{9F3D4877-1773-4E03-A7F7-40CE19D09553}" type="presOf" srcId="{FE5D6A4E-6F8A-4400-A940-96634FB3A535}" destId="{4E91745E-64BA-43E9-99F9-610D6A6096DE}" srcOrd="0" destOrd="0" presId="urn:microsoft.com/office/officeart/2005/8/layout/process5"/>
    <dgm:cxn modelId="{02720A8B-3606-460A-A3EB-110719DF1457}" type="presOf" srcId="{7FC475B2-07A8-442F-8FA3-4D23CCABE9B5}" destId="{1AD46F65-CA38-4E62-A8BB-1A9CFE10E6BB}" srcOrd="1" destOrd="0" presId="urn:microsoft.com/office/officeart/2005/8/layout/process5"/>
    <dgm:cxn modelId="{49A01094-AD3B-462A-9C3B-7C1ECA9FC42C}" srcId="{FF060B08-8B58-463B-ADCE-F6F07F753396}" destId="{41B4EAAF-CC5A-4CEC-B69F-54EFCAAD0DE1}" srcOrd="8" destOrd="0" parTransId="{AE64D93B-B136-453C-9CF6-8BD853E7D533}" sibTransId="{43B95353-553D-4015-B83D-6731FA1B86B7}"/>
    <dgm:cxn modelId="{A5303894-AF7D-486B-B5C7-4E8DDB844773}" type="presOf" srcId="{8A626C5E-8708-462E-AED0-42B5AC7C1D37}" destId="{D18935A9-0116-46A2-8843-92C65DA6E7AA}" srcOrd="0" destOrd="0" presId="urn:microsoft.com/office/officeart/2005/8/layout/process5"/>
    <dgm:cxn modelId="{9075869F-530F-40AF-A7E2-1A96503FECB9}" srcId="{FF060B08-8B58-463B-ADCE-F6F07F753396}" destId="{B4171270-D97C-4006-B8FC-8B0E1C21874D}" srcOrd="3" destOrd="0" parTransId="{22B669C7-0227-4149-A90C-424D2AA5675B}" sibTransId="{95D40724-5CD6-45E7-A56C-53F53373EE97}"/>
    <dgm:cxn modelId="{55DA81A3-E35A-4CE0-ACDC-72FD55080D01}" srcId="{FF060B08-8B58-463B-ADCE-F6F07F753396}" destId="{99D17A38-7E73-4B36-8CCC-2AF7F2A7E18E}" srcOrd="5" destOrd="0" parTransId="{44486AC6-4128-4B04-A328-0B3AF0422AB0}" sibTransId="{0163BB9D-97E1-4C76-9CBB-5ED9E2D328AC}"/>
    <dgm:cxn modelId="{CDD3D5A7-2EA4-4244-86B0-C8608EEC4AB5}" type="presOf" srcId="{7FC475B2-07A8-442F-8FA3-4D23CCABE9B5}" destId="{A8890028-D392-4DC3-AF6D-A2E28CBF74C5}" srcOrd="0" destOrd="0" presId="urn:microsoft.com/office/officeart/2005/8/layout/process5"/>
    <dgm:cxn modelId="{E67CD9A9-247F-4F69-84C0-783122AAB6C4}" type="presOf" srcId="{19858BA7-4E27-46D5-AF11-8572F6944D19}" destId="{62D3BA96-BA74-49D8-B164-F31E6964ABC5}" srcOrd="1" destOrd="0" presId="urn:microsoft.com/office/officeart/2005/8/layout/process5"/>
    <dgm:cxn modelId="{F10877AE-6DD4-40D6-AB1D-62C55E22A465}" srcId="{FF060B08-8B58-463B-ADCE-F6F07F753396}" destId="{FE5D6A4E-6F8A-4400-A940-96634FB3A535}" srcOrd="0" destOrd="0" parTransId="{491B5166-021E-4234-B385-9DAD44BC3B01}" sibTransId="{19858BA7-4E27-46D5-AF11-8572F6944D19}"/>
    <dgm:cxn modelId="{857903B8-9DC8-4927-80D9-D1CC991891E8}" type="presOf" srcId="{C4D9DC5C-6DE9-4812-8643-843BCE3272E3}" destId="{1CC3C813-5517-479F-9FD3-8ABC40AD6FAD}" srcOrd="0" destOrd="0" presId="urn:microsoft.com/office/officeart/2005/8/layout/process5"/>
    <dgm:cxn modelId="{E22510C1-8490-4E61-8525-9B8D60F8FDD0}" type="presOf" srcId="{0163BB9D-97E1-4C76-9CBB-5ED9E2D328AC}" destId="{7BC0B44C-FDCD-4FA5-B8BE-857BE17DB9FF}" srcOrd="1" destOrd="0" presId="urn:microsoft.com/office/officeart/2005/8/layout/process5"/>
    <dgm:cxn modelId="{76E5F7C1-F7BC-40C0-8A93-2C4DB327F0A0}" type="presOf" srcId="{43B95353-553D-4015-B83D-6731FA1B86B7}" destId="{770A589E-3D19-4075-ACC7-EC764512294C}" srcOrd="0" destOrd="0" presId="urn:microsoft.com/office/officeart/2005/8/layout/process5"/>
    <dgm:cxn modelId="{9F0C96D7-5E74-431B-AF26-56BD82108CAD}" srcId="{FF060B08-8B58-463B-ADCE-F6F07F753396}" destId="{57FAE97D-1C22-47EF-B15C-76877D1CE7AC}" srcOrd="7" destOrd="0" parTransId="{04C15D00-8468-401E-8C16-478F0D3C1ACD}" sibTransId="{7FC475B2-07A8-442F-8FA3-4D23CCABE9B5}"/>
    <dgm:cxn modelId="{FB535BDD-E4FA-4DC9-91D6-9DFF14AB8D3A}" type="presOf" srcId="{15192624-7CA5-4A39-A068-799DC8AC30CA}" destId="{66BD3793-DF1C-4DEB-A7E6-52BD2F478425}" srcOrd="1" destOrd="0" presId="urn:microsoft.com/office/officeart/2005/8/layout/process5"/>
    <dgm:cxn modelId="{A47D73EF-009C-4B8A-ACF0-F123EAC72FF4}" type="presOf" srcId="{99D17A38-7E73-4B36-8CCC-2AF7F2A7E18E}" destId="{BFA35643-D34C-4235-B62F-59D84C89D0AA}" srcOrd="0" destOrd="0" presId="urn:microsoft.com/office/officeart/2005/8/layout/process5"/>
    <dgm:cxn modelId="{434436F2-5BFB-47DA-A37D-43331811F466}" srcId="{FF060B08-8B58-463B-ADCE-F6F07F753396}" destId="{D91735C8-D5E7-46B4-B88E-613FA2486AD5}" srcOrd="1" destOrd="0" parTransId="{542EF1EE-3273-48BF-B566-97660A63DFA6}" sibTransId="{15192624-7CA5-4A39-A068-799DC8AC30CA}"/>
    <dgm:cxn modelId="{197F1DFB-BB5A-46DE-8E10-E0CCEED601D6}" type="presOf" srcId="{B9B65918-1D92-41DA-BD59-0932D62A9063}" destId="{401B325F-A35D-4A95-B323-7C80AE803E9C}" srcOrd="1" destOrd="0" presId="urn:microsoft.com/office/officeart/2005/8/layout/process5"/>
    <dgm:cxn modelId="{51BC4FFB-9C2C-473D-BA86-1EF201501B82}" type="presOf" srcId="{95D40724-5CD6-45E7-A56C-53F53373EE97}" destId="{3F6E7EB0-9818-44A3-BCC5-DAA349EE6926}" srcOrd="0" destOrd="0" presId="urn:microsoft.com/office/officeart/2005/8/layout/process5"/>
    <dgm:cxn modelId="{6CB77BFE-BC9E-47F4-BC61-9BC39A61DA3F}" type="presOf" srcId="{8017096C-1DA1-4316-9157-2504C3B6B317}" destId="{66F02E46-44AB-494B-AEBB-15B2669CD6D1}" srcOrd="0" destOrd="0" presId="urn:microsoft.com/office/officeart/2005/8/layout/process5"/>
    <dgm:cxn modelId="{4CCA0276-576F-4AE7-9821-A7BF2C2E228D}" type="presParOf" srcId="{6EADE148-087E-49B8-8AB4-537941386E2E}" destId="{4E91745E-64BA-43E9-99F9-610D6A6096DE}" srcOrd="0" destOrd="0" presId="urn:microsoft.com/office/officeart/2005/8/layout/process5"/>
    <dgm:cxn modelId="{9B503510-EFC2-42DB-A737-F38201E6B51C}" type="presParOf" srcId="{6EADE148-087E-49B8-8AB4-537941386E2E}" destId="{D7A43FCB-C96A-4A7E-B3AA-0CDF7C0762F5}" srcOrd="1" destOrd="0" presId="urn:microsoft.com/office/officeart/2005/8/layout/process5"/>
    <dgm:cxn modelId="{4DDCDFDD-0EB3-4540-99FF-2893C78A8949}" type="presParOf" srcId="{D7A43FCB-C96A-4A7E-B3AA-0CDF7C0762F5}" destId="{62D3BA96-BA74-49D8-B164-F31E6964ABC5}" srcOrd="0" destOrd="0" presId="urn:microsoft.com/office/officeart/2005/8/layout/process5"/>
    <dgm:cxn modelId="{AF74E244-FFDD-49B2-ABCB-E6D1899C0B15}" type="presParOf" srcId="{6EADE148-087E-49B8-8AB4-537941386E2E}" destId="{096F7E57-2E6F-48A8-95D8-304CBBB4E917}" srcOrd="2" destOrd="0" presId="urn:microsoft.com/office/officeart/2005/8/layout/process5"/>
    <dgm:cxn modelId="{4D0A3603-2A8E-49FB-9CA0-6D5544BB755B}" type="presParOf" srcId="{6EADE148-087E-49B8-8AB4-537941386E2E}" destId="{DE6D5FD1-D30C-4904-BD7E-51557C49066C}" srcOrd="3" destOrd="0" presId="urn:microsoft.com/office/officeart/2005/8/layout/process5"/>
    <dgm:cxn modelId="{26D31A86-BCB0-4740-A8AF-F4AEC3700964}" type="presParOf" srcId="{DE6D5FD1-D30C-4904-BD7E-51557C49066C}" destId="{66BD3793-DF1C-4DEB-A7E6-52BD2F478425}" srcOrd="0" destOrd="0" presId="urn:microsoft.com/office/officeart/2005/8/layout/process5"/>
    <dgm:cxn modelId="{3DA82BC2-0B67-405B-8EB7-92A0CA19583D}" type="presParOf" srcId="{6EADE148-087E-49B8-8AB4-537941386E2E}" destId="{1CC3C813-5517-479F-9FD3-8ABC40AD6FAD}" srcOrd="4" destOrd="0" presId="urn:microsoft.com/office/officeart/2005/8/layout/process5"/>
    <dgm:cxn modelId="{4739E145-C8CB-47A2-8753-5F6D3B0FF000}" type="presParOf" srcId="{6EADE148-087E-49B8-8AB4-537941386E2E}" destId="{1E31B5B1-1A3C-4173-BAA5-C6E1EB090B85}" srcOrd="5" destOrd="0" presId="urn:microsoft.com/office/officeart/2005/8/layout/process5"/>
    <dgm:cxn modelId="{A94FA189-3827-4640-A2FB-B2687B426514}" type="presParOf" srcId="{1E31B5B1-1A3C-4173-BAA5-C6E1EB090B85}" destId="{FAC29B20-6217-4958-8E8C-4158223885A3}" srcOrd="0" destOrd="0" presId="urn:microsoft.com/office/officeart/2005/8/layout/process5"/>
    <dgm:cxn modelId="{7A09BD78-9EA6-41C0-BC0C-4589AB1A9F56}" type="presParOf" srcId="{6EADE148-087E-49B8-8AB4-537941386E2E}" destId="{76271DA3-F7EC-4480-9BFE-3739B0259132}" srcOrd="6" destOrd="0" presId="urn:microsoft.com/office/officeart/2005/8/layout/process5"/>
    <dgm:cxn modelId="{3433E357-1377-4245-A036-2A94F3CF3B66}" type="presParOf" srcId="{6EADE148-087E-49B8-8AB4-537941386E2E}" destId="{3F6E7EB0-9818-44A3-BCC5-DAA349EE6926}" srcOrd="7" destOrd="0" presId="urn:microsoft.com/office/officeart/2005/8/layout/process5"/>
    <dgm:cxn modelId="{8F695056-7E61-4429-BAA2-814F01CD1345}" type="presParOf" srcId="{3F6E7EB0-9818-44A3-BCC5-DAA349EE6926}" destId="{6EC011F4-433C-4B74-B5CB-B68953294FF3}" srcOrd="0" destOrd="0" presId="urn:microsoft.com/office/officeart/2005/8/layout/process5"/>
    <dgm:cxn modelId="{746BEBA9-FED6-456B-9935-75839BD96026}" type="presParOf" srcId="{6EADE148-087E-49B8-8AB4-537941386E2E}" destId="{9BEEFFA6-8BA9-4ACC-BA73-FB1B305C41ED}" srcOrd="8" destOrd="0" presId="urn:microsoft.com/office/officeart/2005/8/layout/process5"/>
    <dgm:cxn modelId="{C651472C-74B9-4133-9B81-64C177450E16}" type="presParOf" srcId="{6EADE148-087E-49B8-8AB4-537941386E2E}" destId="{87A6D8AB-FFC8-450D-8766-5404E9621FC9}" srcOrd="9" destOrd="0" presId="urn:microsoft.com/office/officeart/2005/8/layout/process5"/>
    <dgm:cxn modelId="{F08C4BE5-B85B-408A-8235-C44FD91F02EF}" type="presParOf" srcId="{87A6D8AB-FFC8-450D-8766-5404E9621FC9}" destId="{B3E242B1-35A4-4768-ABE1-EB98A39B4675}" srcOrd="0" destOrd="0" presId="urn:microsoft.com/office/officeart/2005/8/layout/process5"/>
    <dgm:cxn modelId="{DD0DF3DA-CC92-4F89-995B-56954B35D8F8}" type="presParOf" srcId="{6EADE148-087E-49B8-8AB4-537941386E2E}" destId="{BFA35643-D34C-4235-B62F-59D84C89D0AA}" srcOrd="10" destOrd="0" presId="urn:microsoft.com/office/officeart/2005/8/layout/process5"/>
    <dgm:cxn modelId="{585C52B6-72E6-49CB-98BC-C5D805D8F1A8}" type="presParOf" srcId="{6EADE148-087E-49B8-8AB4-537941386E2E}" destId="{1D409F16-C764-41B9-B305-B84D4EB3F463}" srcOrd="11" destOrd="0" presId="urn:microsoft.com/office/officeart/2005/8/layout/process5"/>
    <dgm:cxn modelId="{9B237681-CA78-4C8E-94A9-CCCD95732444}" type="presParOf" srcId="{1D409F16-C764-41B9-B305-B84D4EB3F463}" destId="{7BC0B44C-FDCD-4FA5-B8BE-857BE17DB9FF}" srcOrd="0" destOrd="0" presId="urn:microsoft.com/office/officeart/2005/8/layout/process5"/>
    <dgm:cxn modelId="{3A43B65B-D89E-4FE1-B943-5B73F800A36D}" type="presParOf" srcId="{6EADE148-087E-49B8-8AB4-537941386E2E}" destId="{115C8653-665E-420E-AA74-6720CE5B4B22}" srcOrd="12" destOrd="0" presId="urn:microsoft.com/office/officeart/2005/8/layout/process5"/>
    <dgm:cxn modelId="{9D7EC425-41DC-43EA-8E91-E3F706373CD2}" type="presParOf" srcId="{6EADE148-087E-49B8-8AB4-537941386E2E}" destId="{32C0D73D-6C23-4590-AEBC-FD7AE2B46B3E}" srcOrd="13" destOrd="0" presId="urn:microsoft.com/office/officeart/2005/8/layout/process5"/>
    <dgm:cxn modelId="{583856F0-524B-476E-B209-7BEDF5AA3751}" type="presParOf" srcId="{32C0D73D-6C23-4590-AEBC-FD7AE2B46B3E}" destId="{D6D06F9E-F8FF-493A-847C-BEA4507ECAFB}" srcOrd="0" destOrd="0" presId="urn:microsoft.com/office/officeart/2005/8/layout/process5"/>
    <dgm:cxn modelId="{0050CF8C-3AC6-4B0E-86AC-AAFB17AF789D}" type="presParOf" srcId="{6EADE148-087E-49B8-8AB4-537941386E2E}" destId="{61E3B8C7-BC70-4395-ADDD-3E33CA714396}" srcOrd="14" destOrd="0" presId="urn:microsoft.com/office/officeart/2005/8/layout/process5"/>
    <dgm:cxn modelId="{2E34EDAE-8B00-49BC-9C1C-DAF76964C129}" type="presParOf" srcId="{6EADE148-087E-49B8-8AB4-537941386E2E}" destId="{A8890028-D392-4DC3-AF6D-A2E28CBF74C5}" srcOrd="15" destOrd="0" presId="urn:microsoft.com/office/officeart/2005/8/layout/process5"/>
    <dgm:cxn modelId="{2333CCF2-55A3-49D6-836F-15B4D215D9C4}" type="presParOf" srcId="{A8890028-D392-4DC3-AF6D-A2E28CBF74C5}" destId="{1AD46F65-CA38-4E62-A8BB-1A9CFE10E6BB}" srcOrd="0" destOrd="0" presId="urn:microsoft.com/office/officeart/2005/8/layout/process5"/>
    <dgm:cxn modelId="{164C24A2-FFC1-4EC7-B4A1-AC8103ED3FC1}" type="presParOf" srcId="{6EADE148-087E-49B8-8AB4-537941386E2E}" destId="{8B18FEBC-F321-4626-8AD9-3FCDB1C8F51C}" srcOrd="16" destOrd="0" presId="urn:microsoft.com/office/officeart/2005/8/layout/process5"/>
    <dgm:cxn modelId="{DB67905C-864C-44AD-9746-7FE861E86B18}" type="presParOf" srcId="{6EADE148-087E-49B8-8AB4-537941386E2E}" destId="{770A589E-3D19-4075-ACC7-EC764512294C}" srcOrd="17" destOrd="0" presId="urn:microsoft.com/office/officeart/2005/8/layout/process5"/>
    <dgm:cxn modelId="{0A89D44E-41B0-4D18-A7E7-E5C9DFC3F730}" type="presParOf" srcId="{770A589E-3D19-4075-ACC7-EC764512294C}" destId="{605AC43B-4248-4263-87E2-4ADA566BE751}" srcOrd="0" destOrd="0" presId="urn:microsoft.com/office/officeart/2005/8/layout/process5"/>
    <dgm:cxn modelId="{59B8D2A0-3A47-46F8-AF4A-A7DCA812CC22}" type="presParOf" srcId="{6EADE148-087E-49B8-8AB4-537941386E2E}" destId="{D18935A9-0116-46A2-8843-92C65DA6E7AA}" srcOrd="18" destOrd="0" presId="urn:microsoft.com/office/officeart/2005/8/layout/process5"/>
    <dgm:cxn modelId="{1A535B74-1ED4-457A-A5F4-4EF8DA5DFA27}" type="presParOf" srcId="{6EADE148-087E-49B8-8AB4-537941386E2E}" destId="{EB7CA03E-F1EA-4D2F-AB1C-AC95D9549017}" srcOrd="19" destOrd="0" presId="urn:microsoft.com/office/officeart/2005/8/layout/process5"/>
    <dgm:cxn modelId="{E53A0D84-0EFA-466F-9CF3-F0AF5CA5D0D2}" type="presParOf" srcId="{EB7CA03E-F1EA-4D2F-AB1C-AC95D9549017}" destId="{401B325F-A35D-4A95-B323-7C80AE803E9C}" srcOrd="0" destOrd="0" presId="urn:microsoft.com/office/officeart/2005/8/layout/process5"/>
    <dgm:cxn modelId="{CCD89CDE-D681-4512-AD07-028370A8E69A}" type="presParOf" srcId="{6EADE148-087E-49B8-8AB4-537941386E2E}" destId="{66F02E46-44AB-494B-AEBB-15B2669CD6D1}" srcOrd="20" destOrd="0" presId="urn:microsoft.com/office/officeart/2005/8/layout/process5"/>
    <dgm:cxn modelId="{22A745BE-52A6-4B2F-9344-7BA1F245B1AA}" type="presParOf" srcId="{6EADE148-087E-49B8-8AB4-537941386E2E}" destId="{EAD5E8FB-EDC0-49B5-A2B5-6342C135AD23}" srcOrd="21" destOrd="0" presId="urn:microsoft.com/office/officeart/2005/8/layout/process5"/>
    <dgm:cxn modelId="{FF095892-0CEF-446B-A4A9-A91D9CDF44ED}" type="presParOf" srcId="{EAD5E8FB-EDC0-49B5-A2B5-6342C135AD23}" destId="{CE2F4C05-D3B0-4FAA-A73B-AB9EA137A7D1}" srcOrd="0" destOrd="0" presId="urn:microsoft.com/office/officeart/2005/8/layout/process5"/>
    <dgm:cxn modelId="{4002FB24-9537-4167-A484-0B93DF4A4B5F}" type="presParOf" srcId="{6EADE148-087E-49B8-8AB4-537941386E2E}" destId="{F380F59B-16B9-4996-84B3-E9E608BDFA30}" srcOrd="22"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B1A30B-B7D9-4DC0-8E0D-BEAF1340E56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A7AD632-3F79-4CFA-B4D1-1F5ADBBA4154}">
      <dgm:prSet phldrT="[Text]" custT="1"/>
      <dgm:spPr/>
      <dgm:t>
        <a:bodyPr/>
        <a:lstStyle/>
        <a:p>
          <a:r>
            <a:rPr lang="en-US" sz="2000" dirty="0">
              <a:solidFill>
                <a:srgbClr val="002060"/>
              </a:solidFill>
              <a:latin typeface="Gill Sans MT" panose="020B0502020104020203" pitchFamily="34" charset="0"/>
            </a:rPr>
            <a:t>Support for Health Care</a:t>
          </a:r>
        </a:p>
      </dgm:t>
    </dgm:pt>
    <dgm:pt modelId="{ABCD7EC2-3DAC-4AB7-B8EF-16A873D3D24A}" type="parTrans" cxnId="{AE8286C7-9B7A-4B0F-9047-C1953A528394}">
      <dgm:prSet/>
      <dgm:spPr/>
      <dgm:t>
        <a:bodyPr/>
        <a:lstStyle/>
        <a:p>
          <a:endParaRPr lang="en-US" sz="2400">
            <a:solidFill>
              <a:srgbClr val="002060"/>
            </a:solidFill>
            <a:latin typeface="Gill Sans MT" panose="020B0502020104020203" pitchFamily="34" charset="0"/>
          </a:endParaRPr>
        </a:p>
      </dgm:t>
    </dgm:pt>
    <dgm:pt modelId="{EBC0CD31-EBAF-44F8-9A6E-08625D0836B8}" type="sibTrans" cxnId="{AE8286C7-9B7A-4B0F-9047-C1953A528394}">
      <dgm:prSet/>
      <dgm:spPr/>
      <dgm:t>
        <a:bodyPr/>
        <a:lstStyle/>
        <a:p>
          <a:endParaRPr lang="en-US" sz="2400">
            <a:solidFill>
              <a:srgbClr val="002060"/>
            </a:solidFill>
            <a:latin typeface="Gill Sans MT" panose="020B0502020104020203" pitchFamily="34" charset="0"/>
          </a:endParaRPr>
        </a:p>
      </dgm:t>
    </dgm:pt>
    <dgm:pt modelId="{3D834F28-AEC8-463F-9E82-CFCC8A74EFB5}">
      <dgm:prSet phldrT="[Text]" custT="1"/>
      <dgm:spPr/>
      <dgm:t>
        <a:bodyPr/>
        <a:lstStyle/>
        <a:p>
          <a:r>
            <a:rPr lang="en-US" sz="1800" dirty="0">
              <a:solidFill>
                <a:srgbClr val="002060"/>
              </a:solidFill>
              <a:latin typeface="Gill Sans MT" panose="020B0502020104020203" pitchFamily="34" charset="0"/>
            </a:rPr>
            <a:t>4. Child Care Plans</a:t>
          </a:r>
        </a:p>
      </dgm:t>
    </dgm:pt>
    <dgm:pt modelId="{8FDD933F-4B33-49DC-89E4-1F0FAB1F0970}" type="parTrans" cxnId="{44BFF5BC-7C20-4C6F-A259-D7E337134C1C}">
      <dgm:prSet/>
      <dgm:spPr/>
      <dgm:t>
        <a:bodyPr/>
        <a:lstStyle/>
        <a:p>
          <a:endParaRPr lang="en-US" sz="2400">
            <a:solidFill>
              <a:srgbClr val="002060"/>
            </a:solidFill>
            <a:latin typeface="Gill Sans MT" panose="020B0502020104020203" pitchFamily="34" charset="0"/>
          </a:endParaRPr>
        </a:p>
      </dgm:t>
    </dgm:pt>
    <dgm:pt modelId="{2D8CE5EE-6201-43FB-AB81-DF94370F8882}" type="sibTrans" cxnId="{44BFF5BC-7C20-4C6F-A259-D7E337134C1C}">
      <dgm:prSet/>
      <dgm:spPr/>
      <dgm:t>
        <a:bodyPr/>
        <a:lstStyle/>
        <a:p>
          <a:endParaRPr lang="en-US" sz="2400">
            <a:solidFill>
              <a:srgbClr val="002060"/>
            </a:solidFill>
            <a:latin typeface="Gill Sans MT" panose="020B0502020104020203" pitchFamily="34" charset="0"/>
          </a:endParaRPr>
        </a:p>
      </dgm:t>
    </dgm:pt>
    <dgm:pt modelId="{50949B8F-B2CC-430A-85D4-87FE2CBECF5A}">
      <dgm:prSet phldrT="[Text]" custT="1"/>
      <dgm:spPr/>
      <dgm:t>
        <a:bodyPr/>
        <a:lstStyle/>
        <a:p>
          <a:r>
            <a:rPr lang="en-US" sz="1800" dirty="0">
              <a:solidFill>
                <a:srgbClr val="002060"/>
              </a:solidFill>
              <a:latin typeface="Gill Sans MT" panose="020B0502020104020203" pitchFamily="34" charset="0"/>
            </a:rPr>
            <a:t>5. Parent-Child Relationship</a:t>
          </a:r>
        </a:p>
      </dgm:t>
    </dgm:pt>
    <dgm:pt modelId="{603DC69A-9C6F-4C39-B9EE-2B688FED97C6}" type="parTrans" cxnId="{ED1783CB-A2D3-45EA-BC3D-E65B42217F4D}">
      <dgm:prSet/>
      <dgm:spPr/>
      <dgm:t>
        <a:bodyPr/>
        <a:lstStyle/>
        <a:p>
          <a:endParaRPr lang="en-US" sz="2400">
            <a:solidFill>
              <a:srgbClr val="002060"/>
            </a:solidFill>
            <a:latin typeface="Gill Sans MT" panose="020B0502020104020203" pitchFamily="34" charset="0"/>
          </a:endParaRPr>
        </a:p>
      </dgm:t>
    </dgm:pt>
    <dgm:pt modelId="{269F5947-D8A4-44BD-8ABB-E87C7767B79D}" type="sibTrans" cxnId="{ED1783CB-A2D3-45EA-BC3D-E65B42217F4D}">
      <dgm:prSet/>
      <dgm:spPr/>
      <dgm:t>
        <a:bodyPr/>
        <a:lstStyle/>
        <a:p>
          <a:endParaRPr lang="en-US" sz="2400">
            <a:solidFill>
              <a:srgbClr val="002060"/>
            </a:solidFill>
            <a:latin typeface="Gill Sans MT" panose="020B0502020104020203" pitchFamily="34" charset="0"/>
          </a:endParaRPr>
        </a:p>
      </dgm:t>
    </dgm:pt>
    <dgm:pt modelId="{2C8E19FD-4A16-4800-B353-E2712DB6BDC3}">
      <dgm:prSet phldrT="[Text]" custT="1"/>
      <dgm:spPr/>
      <dgm:t>
        <a:bodyPr/>
        <a:lstStyle/>
        <a:p>
          <a:r>
            <a:rPr lang="en-US" sz="2000" dirty="0">
              <a:solidFill>
                <a:srgbClr val="002060"/>
              </a:solidFill>
              <a:latin typeface="Gill Sans MT" panose="020B0502020104020203" pitchFamily="34" charset="0"/>
            </a:rPr>
            <a:t>Support for a </a:t>
          </a:r>
          <a:br>
            <a:rPr lang="en-US" sz="2000" dirty="0">
              <a:solidFill>
                <a:srgbClr val="002060"/>
              </a:solidFill>
              <a:latin typeface="Gill Sans MT" panose="020B0502020104020203" pitchFamily="34" charset="0"/>
            </a:rPr>
          </a:br>
          <a:r>
            <a:rPr lang="en-US" sz="2000" dirty="0">
              <a:solidFill>
                <a:srgbClr val="002060"/>
              </a:solidFill>
              <a:latin typeface="Gill Sans MT" panose="020B0502020104020203" pitchFamily="34" charset="0"/>
            </a:rPr>
            <a:t>Safe Home</a:t>
          </a:r>
        </a:p>
      </dgm:t>
    </dgm:pt>
    <dgm:pt modelId="{F76778F3-A921-4CBF-81E3-6257AB9AEC87}" type="parTrans" cxnId="{E88E86BF-5075-4C30-B2B4-1F5D83BCB785}">
      <dgm:prSet/>
      <dgm:spPr/>
      <dgm:t>
        <a:bodyPr/>
        <a:lstStyle/>
        <a:p>
          <a:endParaRPr lang="en-US" sz="2400">
            <a:solidFill>
              <a:srgbClr val="002060"/>
            </a:solidFill>
            <a:latin typeface="Gill Sans MT" panose="020B0502020104020203" pitchFamily="34" charset="0"/>
          </a:endParaRPr>
        </a:p>
      </dgm:t>
    </dgm:pt>
    <dgm:pt modelId="{2C01794F-B54F-4A82-8516-E07062E308CE}" type="sibTrans" cxnId="{E88E86BF-5075-4C30-B2B4-1F5D83BCB785}">
      <dgm:prSet/>
      <dgm:spPr/>
      <dgm:t>
        <a:bodyPr/>
        <a:lstStyle/>
        <a:p>
          <a:endParaRPr lang="en-US" sz="2400">
            <a:solidFill>
              <a:srgbClr val="002060"/>
            </a:solidFill>
            <a:latin typeface="Gill Sans MT" panose="020B0502020104020203" pitchFamily="34" charset="0"/>
          </a:endParaRPr>
        </a:p>
      </dgm:t>
    </dgm:pt>
    <dgm:pt modelId="{42D662F1-653A-499C-ACB0-717F3E88477B}">
      <dgm:prSet phldrT="[Text]" custT="1"/>
      <dgm:spPr/>
      <dgm:t>
        <a:bodyPr/>
        <a:lstStyle/>
        <a:p>
          <a:r>
            <a:rPr lang="en-US" sz="1800" dirty="0">
              <a:solidFill>
                <a:srgbClr val="002060"/>
              </a:solidFill>
              <a:latin typeface="Gill Sans MT" panose="020B0502020104020203" pitchFamily="34" charset="0"/>
            </a:rPr>
            <a:t>7. Household Safety/Material Supports</a:t>
          </a:r>
        </a:p>
      </dgm:t>
    </dgm:pt>
    <dgm:pt modelId="{52D9F3E1-9421-495F-B844-B38F1AE11544}" type="parTrans" cxnId="{D495FDBF-9CAA-4E18-84FB-BF04BE42E08E}">
      <dgm:prSet/>
      <dgm:spPr/>
      <dgm:t>
        <a:bodyPr/>
        <a:lstStyle/>
        <a:p>
          <a:endParaRPr lang="en-US" sz="2400">
            <a:solidFill>
              <a:srgbClr val="002060"/>
            </a:solidFill>
            <a:latin typeface="Gill Sans MT" panose="020B0502020104020203" pitchFamily="34" charset="0"/>
          </a:endParaRPr>
        </a:p>
      </dgm:t>
    </dgm:pt>
    <dgm:pt modelId="{042BA68C-FBA1-45A2-A08B-F53C6C182C5D}" type="sibTrans" cxnId="{D495FDBF-9CAA-4E18-84FB-BF04BE42E08E}">
      <dgm:prSet/>
      <dgm:spPr/>
      <dgm:t>
        <a:bodyPr/>
        <a:lstStyle/>
        <a:p>
          <a:endParaRPr lang="en-US" sz="2400">
            <a:solidFill>
              <a:srgbClr val="002060"/>
            </a:solidFill>
            <a:latin typeface="Gill Sans MT" panose="020B0502020104020203" pitchFamily="34" charset="0"/>
          </a:endParaRPr>
        </a:p>
      </dgm:t>
    </dgm:pt>
    <dgm:pt modelId="{FF427687-DBBB-4F46-82F3-7F280870EE10}">
      <dgm:prSet phldrT="[Text]" custT="1"/>
      <dgm:spPr/>
      <dgm:t>
        <a:bodyPr/>
        <a:lstStyle/>
        <a:p>
          <a:r>
            <a:rPr lang="en-US" sz="1800" dirty="0">
              <a:solidFill>
                <a:srgbClr val="002060"/>
              </a:solidFill>
              <a:latin typeface="Gill Sans MT" panose="020B0502020104020203" pitchFamily="34" charset="0"/>
            </a:rPr>
            <a:t>9. History with Parenting Difficulties (ACEs)</a:t>
          </a:r>
        </a:p>
      </dgm:t>
    </dgm:pt>
    <dgm:pt modelId="{10AD0263-8E94-4911-84DE-CC51AB74FD8C}" type="parTrans" cxnId="{E0956099-64E5-4A4D-BBAD-2850BF808AE4}">
      <dgm:prSet/>
      <dgm:spPr/>
      <dgm:t>
        <a:bodyPr/>
        <a:lstStyle/>
        <a:p>
          <a:endParaRPr lang="en-US" sz="2400">
            <a:solidFill>
              <a:srgbClr val="002060"/>
            </a:solidFill>
            <a:latin typeface="Gill Sans MT" panose="020B0502020104020203" pitchFamily="34" charset="0"/>
          </a:endParaRPr>
        </a:p>
      </dgm:t>
    </dgm:pt>
    <dgm:pt modelId="{DF1CA898-D8DF-47B7-8450-0E847540D349}" type="sibTrans" cxnId="{E0956099-64E5-4A4D-BBAD-2850BF808AE4}">
      <dgm:prSet/>
      <dgm:spPr/>
      <dgm:t>
        <a:bodyPr/>
        <a:lstStyle/>
        <a:p>
          <a:endParaRPr lang="en-US" sz="2400">
            <a:solidFill>
              <a:srgbClr val="002060"/>
            </a:solidFill>
            <a:latin typeface="Gill Sans MT" panose="020B0502020104020203" pitchFamily="34" charset="0"/>
          </a:endParaRPr>
        </a:p>
      </dgm:t>
    </dgm:pt>
    <dgm:pt modelId="{BD5B1CD2-80AA-41A6-83AE-89A14CAA3C0F}">
      <dgm:prSet phldrT="[Text]" custT="1"/>
      <dgm:spPr/>
      <dgm:t>
        <a:bodyPr/>
        <a:lstStyle/>
        <a:p>
          <a:r>
            <a:rPr lang="en-US" sz="2000" dirty="0">
              <a:solidFill>
                <a:srgbClr val="002060"/>
              </a:solidFill>
              <a:latin typeface="Gill Sans MT" panose="020B0502020104020203" pitchFamily="34" charset="0"/>
            </a:rPr>
            <a:t>Support for Parent(s)</a:t>
          </a:r>
        </a:p>
      </dgm:t>
    </dgm:pt>
    <dgm:pt modelId="{7B8BEBDC-6C22-49C0-965D-DA8CED3024A6}" type="parTrans" cxnId="{6C0C4BB3-04B7-4C2C-B87A-78ADE903BB3C}">
      <dgm:prSet/>
      <dgm:spPr/>
      <dgm:t>
        <a:bodyPr/>
        <a:lstStyle/>
        <a:p>
          <a:endParaRPr lang="en-US" sz="2400">
            <a:solidFill>
              <a:srgbClr val="002060"/>
            </a:solidFill>
            <a:latin typeface="Gill Sans MT" panose="020B0502020104020203" pitchFamily="34" charset="0"/>
          </a:endParaRPr>
        </a:p>
      </dgm:t>
    </dgm:pt>
    <dgm:pt modelId="{2A96458A-2CE4-4021-A0B9-E6068E4DE56B}" type="sibTrans" cxnId="{6C0C4BB3-04B7-4C2C-B87A-78ADE903BB3C}">
      <dgm:prSet/>
      <dgm:spPr/>
      <dgm:t>
        <a:bodyPr/>
        <a:lstStyle/>
        <a:p>
          <a:endParaRPr lang="en-US" sz="2400">
            <a:solidFill>
              <a:srgbClr val="002060"/>
            </a:solidFill>
            <a:latin typeface="Gill Sans MT" panose="020B0502020104020203" pitchFamily="34" charset="0"/>
          </a:endParaRPr>
        </a:p>
      </dgm:t>
    </dgm:pt>
    <dgm:pt modelId="{43FAD649-01C7-412E-93B5-C370E41373C4}">
      <dgm:prSet phldrT="[Text]" custT="1"/>
      <dgm:spPr/>
      <dgm:t>
        <a:bodyPr/>
        <a:lstStyle/>
        <a:p>
          <a:r>
            <a:rPr lang="en-US" sz="1800" dirty="0">
              <a:solidFill>
                <a:srgbClr val="002060"/>
              </a:solidFill>
              <a:latin typeface="Gill Sans MT" panose="020B0502020104020203" pitchFamily="34" charset="0"/>
            </a:rPr>
            <a:t>11. Substance Abuse in Household</a:t>
          </a:r>
        </a:p>
      </dgm:t>
    </dgm:pt>
    <dgm:pt modelId="{8093109E-D97E-49EE-8C6F-9A200E7D76D9}" type="parTrans" cxnId="{4F6C474B-6AB3-4B2A-B3C9-2021771C4F21}">
      <dgm:prSet/>
      <dgm:spPr/>
      <dgm:t>
        <a:bodyPr/>
        <a:lstStyle/>
        <a:p>
          <a:endParaRPr lang="en-US" sz="2400">
            <a:solidFill>
              <a:srgbClr val="002060"/>
            </a:solidFill>
            <a:latin typeface="Gill Sans MT" panose="020B0502020104020203" pitchFamily="34" charset="0"/>
          </a:endParaRPr>
        </a:p>
      </dgm:t>
    </dgm:pt>
    <dgm:pt modelId="{49DE8CE3-2073-4A85-91E4-A57F47CBB399}" type="sibTrans" cxnId="{4F6C474B-6AB3-4B2A-B3C9-2021771C4F21}">
      <dgm:prSet/>
      <dgm:spPr/>
      <dgm:t>
        <a:bodyPr/>
        <a:lstStyle/>
        <a:p>
          <a:endParaRPr lang="en-US" sz="2400">
            <a:solidFill>
              <a:srgbClr val="002060"/>
            </a:solidFill>
            <a:latin typeface="Gill Sans MT" panose="020B0502020104020203" pitchFamily="34" charset="0"/>
          </a:endParaRPr>
        </a:p>
      </dgm:t>
    </dgm:pt>
    <dgm:pt modelId="{097EAFC8-F7BF-466A-A34D-3B7FA18A696B}">
      <dgm:prSet phldrT="[Text]" custT="1"/>
      <dgm:spPr/>
      <dgm:t>
        <a:bodyPr/>
        <a:lstStyle/>
        <a:p>
          <a:r>
            <a:rPr lang="en-US" sz="1800" dirty="0">
              <a:solidFill>
                <a:srgbClr val="002060"/>
              </a:solidFill>
              <a:latin typeface="Gill Sans MT" panose="020B0502020104020203" pitchFamily="34" charset="0"/>
            </a:rPr>
            <a:t>12. Parent Emotional Support</a:t>
          </a:r>
        </a:p>
      </dgm:t>
    </dgm:pt>
    <dgm:pt modelId="{05E27379-D54E-42DB-BB98-14F507D1468B}" type="parTrans" cxnId="{6233C3F8-9E14-479A-9F12-D83C814BA894}">
      <dgm:prSet/>
      <dgm:spPr/>
      <dgm:t>
        <a:bodyPr/>
        <a:lstStyle/>
        <a:p>
          <a:endParaRPr lang="en-US" sz="2400">
            <a:solidFill>
              <a:srgbClr val="002060"/>
            </a:solidFill>
            <a:latin typeface="Gill Sans MT" panose="020B0502020104020203" pitchFamily="34" charset="0"/>
          </a:endParaRPr>
        </a:p>
      </dgm:t>
    </dgm:pt>
    <dgm:pt modelId="{CA0C0E3A-95BE-4048-807A-FD3A6F47156C}" type="sibTrans" cxnId="{6233C3F8-9E14-479A-9F12-D83C814BA894}">
      <dgm:prSet/>
      <dgm:spPr/>
      <dgm:t>
        <a:bodyPr/>
        <a:lstStyle/>
        <a:p>
          <a:endParaRPr lang="en-US" sz="2400">
            <a:solidFill>
              <a:srgbClr val="002060"/>
            </a:solidFill>
            <a:latin typeface="Gill Sans MT" panose="020B0502020104020203" pitchFamily="34" charset="0"/>
          </a:endParaRPr>
        </a:p>
      </dgm:t>
    </dgm:pt>
    <dgm:pt modelId="{58919718-D0C0-4E49-BED0-C39873FE8882}">
      <dgm:prSet phldrT="[Text]" custT="1"/>
      <dgm:spPr/>
      <dgm:t>
        <a:bodyPr/>
        <a:lstStyle/>
        <a:p>
          <a:r>
            <a:rPr lang="en-US" sz="2000" dirty="0">
              <a:solidFill>
                <a:srgbClr val="002060"/>
              </a:solidFill>
              <a:latin typeface="Gill Sans MT" panose="020B0502020104020203" pitchFamily="34" charset="0"/>
            </a:rPr>
            <a:t>Support for </a:t>
          </a:r>
          <a:br>
            <a:rPr lang="en-US" sz="2000" dirty="0">
              <a:solidFill>
                <a:srgbClr val="002060"/>
              </a:solidFill>
              <a:latin typeface="Gill Sans MT" panose="020B0502020104020203" pitchFamily="34" charset="0"/>
            </a:rPr>
          </a:br>
          <a:r>
            <a:rPr lang="en-US" sz="2000" dirty="0">
              <a:solidFill>
                <a:srgbClr val="002060"/>
              </a:solidFill>
              <a:latin typeface="Gill Sans MT" panose="020B0502020104020203" pitchFamily="34" charset="0"/>
            </a:rPr>
            <a:t>Infant Care</a:t>
          </a:r>
        </a:p>
      </dgm:t>
    </dgm:pt>
    <dgm:pt modelId="{92FF06FD-FA2E-456F-AC6A-627726A13444}" type="parTrans" cxnId="{DE5FCD66-5209-442B-BBF5-5F8834255E6B}">
      <dgm:prSet/>
      <dgm:spPr/>
      <dgm:t>
        <a:bodyPr/>
        <a:lstStyle/>
        <a:p>
          <a:endParaRPr lang="en-US" sz="2400">
            <a:solidFill>
              <a:srgbClr val="002060"/>
            </a:solidFill>
            <a:latin typeface="Gill Sans MT" panose="020B0502020104020203" pitchFamily="34" charset="0"/>
          </a:endParaRPr>
        </a:p>
      </dgm:t>
    </dgm:pt>
    <dgm:pt modelId="{DA764988-94AC-4B89-841C-BE7A5FD5B29A}" type="sibTrans" cxnId="{DE5FCD66-5209-442B-BBF5-5F8834255E6B}">
      <dgm:prSet/>
      <dgm:spPr/>
      <dgm:t>
        <a:bodyPr/>
        <a:lstStyle/>
        <a:p>
          <a:endParaRPr lang="en-US" sz="2400">
            <a:solidFill>
              <a:srgbClr val="002060"/>
            </a:solidFill>
            <a:latin typeface="Gill Sans MT" panose="020B0502020104020203" pitchFamily="34" charset="0"/>
          </a:endParaRPr>
        </a:p>
      </dgm:t>
    </dgm:pt>
    <dgm:pt modelId="{D059CE6F-B5C8-409F-9C64-AC71AF3E07E2}">
      <dgm:prSet phldrT="[Text]" custT="1"/>
      <dgm:spPr/>
      <dgm:t>
        <a:bodyPr/>
        <a:lstStyle/>
        <a:p>
          <a:r>
            <a:rPr lang="en-US" sz="1800" dirty="0">
              <a:solidFill>
                <a:srgbClr val="002060"/>
              </a:solidFill>
              <a:latin typeface="Gill Sans MT" panose="020B0502020104020203" pitchFamily="34" charset="0"/>
            </a:rPr>
            <a:t>1. </a:t>
          </a:r>
          <a:r>
            <a:rPr lang="en-US" sz="1800" baseline="0" dirty="0">
              <a:solidFill>
                <a:srgbClr val="002060"/>
              </a:solidFill>
              <a:latin typeface="Gill Sans MT" panose="020B0502020104020203" pitchFamily="34" charset="0"/>
            </a:rPr>
            <a:t>Maternal</a:t>
          </a:r>
          <a:r>
            <a:rPr lang="en-US" sz="1800" dirty="0">
              <a:solidFill>
                <a:srgbClr val="002060"/>
              </a:solidFill>
              <a:latin typeface="Gill Sans MT" panose="020B0502020104020203" pitchFamily="34" charset="0"/>
            </a:rPr>
            <a:t> Health</a:t>
          </a:r>
        </a:p>
      </dgm:t>
    </dgm:pt>
    <dgm:pt modelId="{FBF41501-04F6-4BC2-955A-2D6B5939348F}" type="parTrans" cxnId="{94BAAF55-24DB-40B8-9377-8662080709ED}">
      <dgm:prSet/>
      <dgm:spPr/>
      <dgm:t>
        <a:bodyPr/>
        <a:lstStyle/>
        <a:p>
          <a:endParaRPr lang="en-US" sz="2400">
            <a:solidFill>
              <a:srgbClr val="002060"/>
            </a:solidFill>
            <a:latin typeface="Gill Sans MT" panose="020B0502020104020203" pitchFamily="34" charset="0"/>
          </a:endParaRPr>
        </a:p>
      </dgm:t>
    </dgm:pt>
    <dgm:pt modelId="{D6726D0F-0434-4F53-BA61-04AAE96E8C79}" type="sibTrans" cxnId="{94BAAF55-24DB-40B8-9377-8662080709ED}">
      <dgm:prSet/>
      <dgm:spPr/>
      <dgm:t>
        <a:bodyPr/>
        <a:lstStyle/>
        <a:p>
          <a:endParaRPr lang="en-US" sz="2400">
            <a:solidFill>
              <a:srgbClr val="002060"/>
            </a:solidFill>
            <a:latin typeface="Gill Sans MT" panose="020B0502020104020203" pitchFamily="34" charset="0"/>
          </a:endParaRPr>
        </a:p>
      </dgm:t>
    </dgm:pt>
    <dgm:pt modelId="{3C933E66-AC8F-41AB-8866-C4346E02F7F8}">
      <dgm:prSet phldrT="[Text]" custT="1"/>
      <dgm:spPr/>
      <dgm:t>
        <a:bodyPr/>
        <a:lstStyle/>
        <a:p>
          <a:r>
            <a:rPr lang="en-US" sz="1800" dirty="0">
              <a:solidFill>
                <a:srgbClr val="002060"/>
              </a:solidFill>
              <a:latin typeface="Gill Sans MT" panose="020B0502020104020203" pitchFamily="34" charset="0"/>
            </a:rPr>
            <a:t>2. Infant Health</a:t>
          </a:r>
        </a:p>
      </dgm:t>
    </dgm:pt>
    <dgm:pt modelId="{7B3FC03D-17C9-498D-85EE-0E3DFADF5BB2}" type="parTrans" cxnId="{323E83F1-4819-4C40-8EC6-D33AD52991D6}">
      <dgm:prSet/>
      <dgm:spPr/>
      <dgm:t>
        <a:bodyPr/>
        <a:lstStyle/>
        <a:p>
          <a:endParaRPr lang="en-US" sz="2400">
            <a:solidFill>
              <a:srgbClr val="002060"/>
            </a:solidFill>
            <a:latin typeface="Gill Sans MT" panose="020B0502020104020203" pitchFamily="34" charset="0"/>
          </a:endParaRPr>
        </a:p>
      </dgm:t>
    </dgm:pt>
    <dgm:pt modelId="{8B0A28E7-CB9F-4479-9A62-F3DB93CB819C}" type="sibTrans" cxnId="{323E83F1-4819-4C40-8EC6-D33AD52991D6}">
      <dgm:prSet/>
      <dgm:spPr/>
      <dgm:t>
        <a:bodyPr/>
        <a:lstStyle/>
        <a:p>
          <a:endParaRPr lang="en-US" sz="2400">
            <a:solidFill>
              <a:srgbClr val="002060"/>
            </a:solidFill>
            <a:latin typeface="Gill Sans MT" panose="020B0502020104020203" pitchFamily="34" charset="0"/>
          </a:endParaRPr>
        </a:p>
      </dgm:t>
    </dgm:pt>
    <dgm:pt modelId="{838A8ACF-7570-46C2-95BC-7B1A4E3E651F}">
      <dgm:prSet phldrT="[Text]" custT="1"/>
      <dgm:spPr/>
      <dgm:t>
        <a:bodyPr/>
        <a:lstStyle/>
        <a:p>
          <a:r>
            <a:rPr lang="en-US" sz="1800" dirty="0">
              <a:solidFill>
                <a:srgbClr val="002060"/>
              </a:solidFill>
              <a:latin typeface="Gill Sans MT" panose="020B0502020104020203" pitchFamily="34" charset="0"/>
            </a:rPr>
            <a:t>3. Health Care Plans</a:t>
          </a:r>
        </a:p>
      </dgm:t>
    </dgm:pt>
    <dgm:pt modelId="{CC44B864-888C-46F7-A8C0-AA5E6A31599E}" type="parTrans" cxnId="{E19F5894-EA0E-4CA2-99D2-03B6F90EA7F6}">
      <dgm:prSet/>
      <dgm:spPr/>
      <dgm:t>
        <a:bodyPr/>
        <a:lstStyle/>
        <a:p>
          <a:endParaRPr lang="en-US" sz="2400">
            <a:solidFill>
              <a:srgbClr val="002060"/>
            </a:solidFill>
            <a:latin typeface="Gill Sans MT" panose="020B0502020104020203" pitchFamily="34" charset="0"/>
          </a:endParaRPr>
        </a:p>
      </dgm:t>
    </dgm:pt>
    <dgm:pt modelId="{E59B460F-E525-4969-8AE1-F2C771B36376}" type="sibTrans" cxnId="{E19F5894-EA0E-4CA2-99D2-03B6F90EA7F6}">
      <dgm:prSet/>
      <dgm:spPr/>
      <dgm:t>
        <a:bodyPr/>
        <a:lstStyle/>
        <a:p>
          <a:endParaRPr lang="en-US" sz="2400">
            <a:solidFill>
              <a:srgbClr val="002060"/>
            </a:solidFill>
            <a:latin typeface="Gill Sans MT" panose="020B0502020104020203" pitchFamily="34" charset="0"/>
          </a:endParaRPr>
        </a:p>
      </dgm:t>
    </dgm:pt>
    <dgm:pt modelId="{17288632-7FB5-4888-9050-DC341B2AA330}">
      <dgm:prSet phldrT="[Text]" custT="1"/>
      <dgm:spPr/>
      <dgm:t>
        <a:bodyPr/>
        <a:lstStyle/>
        <a:p>
          <a:r>
            <a:rPr lang="en-US" sz="1800" dirty="0">
              <a:solidFill>
                <a:srgbClr val="002060"/>
              </a:solidFill>
              <a:latin typeface="Gill Sans MT" panose="020B0502020104020203" pitchFamily="34" charset="0"/>
            </a:rPr>
            <a:t>6. Management of Infant Crying</a:t>
          </a:r>
        </a:p>
      </dgm:t>
    </dgm:pt>
    <dgm:pt modelId="{B42ADEC6-C609-42AE-80A2-DD9681C9EE09}" type="parTrans" cxnId="{9C1EDACC-B72B-43F9-907C-F1D1DDF0F492}">
      <dgm:prSet/>
      <dgm:spPr/>
      <dgm:t>
        <a:bodyPr/>
        <a:lstStyle/>
        <a:p>
          <a:endParaRPr lang="en-US" sz="2400">
            <a:solidFill>
              <a:srgbClr val="002060"/>
            </a:solidFill>
            <a:latin typeface="Gill Sans MT" panose="020B0502020104020203" pitchFamily="34" charset="0"/>
          </a:endParaRPr>
        </a:p>
      </dgm:t>
    </dgm:pt>
    <dgm:pt modelId="{B2645BBC-8119-4417-AE19-F3EF308C0C9E}" type="sibTrans" cxnId="{9C1EDACC-B72B-43F9-907C-F1D1DDF0F492}">
      <dgm:prSet/>
      <dgm:spPr/>
      <dgm:t>
        <a:bodyPr/>
        <a:lstStyle/>
        <a:p>
          <a:endParaRPr lang="en-US" sz="2400">
            <a:solidFill>
              <a:srgbClr val="002060"/>
            </a:solidFill>
            <a:latin typeface="Gill Sans MT" panose="020B0502020104020203" pitchFamily="34" charset="0"/>
          </a:endParaRPr>
        </a:p>
      </dgm:t>
    </dgm:pt>
    <dgm:pt modelId="{6208D051-AC07-451A-AC77-1E661C5A658B}">
      <dgm:prSet phldrT="[Text]" custT="1"/>
      <dgm:spPr/>
      <dgm:t>
        <a:bodyPr/>
        <a:lstStyle/>
        <a:p>
          <a:r>
            <a:rPr lang="en-US" sz="1800" dirty="0">
              <a:solidFill>
                <a:srgbClr val="002060"/>
              </a:solidFill>
              <a:latin typeface="Gill Sans MT" panose="020B0502020104020203" pitchFamily="34" charset="0"/>
            </a:rPr>
            <a:t>8. Family and Community Safety</a:t>
          </a:r>
        </a:p>
      </dgm:t>
    </dgm:pt>
    <dgm:pt modelId="{803B53FE-19B9-494B-B36B-D2344804FD1A}" type="parTrans" cxnId="{0C208445-E006-4156-88DC-5009F5B1FB79}">
      <dgm:prSet/>
      <dgm:spPr/>
      <dgm:t>
        <a:bodyPr/>
        <a:lstStyle/>
        <a:p>
          <a:endParaRPr lang="en-US" sz="2400">
            <a:solidFill>
              <a:srgbClr val="002060"/>
            </a:solidFill>
            <a:latin typeface="Gill Sans MT" panose="020B0502020104020203" pitchFamily="34" charset="0"/>
          </a:endParaRPr>
        </a:p>
      </dgm:t>
    </dgm:pt>
    <dgm:pt modelId="{B9868A33-039D-4D9A-AA55-7D887EB1E92D}" type="sibTrans" cxnId="{0C208445-E006-4156-88DC-5009F5B1FB79}">
      <dgm:prSet/>
      <dgm:spPr/>
      <dgm:t>
        <a:bodyPr/>
        <a:lstStyle/>
        <a:p>
          <a:endParaRPr lang="en-US" sz="2400">
            <a:solidFill>
              <a:srgbClr val="002060"/>
            </a:solidFill>
            <a:latin typeface="Gill Sans MT" panose="020B0502020104020203" pitchFamily="34" charset="0"/>
          </a:endParaRPr>
        </a:p>
      </dgm:t>
    </dgm:pt>
    <dgm:pt modelId="{A978B9CD-E3D4-4952-99C1-5D20EAFC20FE}">
      <dgm:prSet phldrT="[Text]" custT="1"/>
      <dgm:spPr/>
      <dgm:t>
        <a:bodyPr/>
        <a:lstStyle/>
        <a:p>
          <a:r>
            <a:rPr lang="en-US" sz="1800" dirty="0">
              <a:solidFill>
                <a:srgbClr val="002060"/>
              </a:solidFill>
              <a:latin typeface="Gill Sans MT" panose="020B0502020104020203" pitchFamily="34" charset="0"/>
            </a:rPr>
            <a:t>10. Parent Well Being</a:t>
          </a:r>
        </a:p>
      </dgm:t>
    </dgm:pt>
    <dgm:pt modelId="{6DE80205-F7EB-4867-B126-6FFD14ACB95D}" type="parTrans" cxnId="{1D9A370A-D680-4450-8693-3B15A618E42E}">
      <dgm:prSet/>
      <dgm:spPr/>
      <dgm:t>
        <a:bodyPr/>
        <a:lstStyle/>
        <a:p>
          <a:endParaRPr lang="en-US" sz="2400">
            <a:solidFill>
              <a:srgbClr val="002060"/>
            </a:solidFill>
            <a:latin typeface="Gill Sans MT" panose="020B0502020104020203" pitchFamily="34" charset="0"/>
          </a:endParaRPr>
        </a:p>
      </dgm:t>
    </dgm:pt>
    <dgm:pt modelId="{5A08FFC9-E1BF-4B28-832A-09D236D631AD}" type="sibTrans" cxnId="{1D9A370A-D680-4450-8693-3B15A618E42E}">
      <dgm:prSet/>
      <dgm:spPr/>
      <dgm:t>
        <a:bodyPr/>
        <a:lstStyle/>
        <a:p>
          <a:endParaRPr lang="en-US" sz="2400">
            <a:solidFill>
              <a:srgbClr val="002060"/>
            </a:solidFill>
            <a:latin typeface="Gill Sans MT" panose="020B0502020104020203" pitchFamily="34" charset="0"/>
          </a:endParaRPr>
        </a:p>
      </dgm:t>
    </dgm:pt>
    <dgm:pt modelId="{DBB7E914-F553-4231-B133-35D190D73016}" type="pres">
      <dgm:prSet presAssocID="{F6B1A30B-B7D9-4DC0-8E0D-BEAF1340E565}" presName="vert0" presStyleCnt="0">
        <dgm:presLayoutVars>
          <dgm:dir/>
          <dgm:animOne val="branch"/>
          <dgm:animLvl val="lvl"/>
        </dgm:presLayoutVars>
      </dgm:prSet>
      <dgm:spPr/>
    </dgm:pt>
    <dgm:pt modelId="{80EF7000-3C5D-4984-82DD-8B9FD78900CA}" type="pres">
      <dgm:prSet presAssocID="{9A7AD632-3F79-4CFA-B4D1-1F5ADBBA4154}" presName="thickLine" presStyleLbl="alignNode1" presStyleIdx="0" presStyleCnt="4"/>
      <dgm:spPr/>
    </dgm:pt>
    <dgm:pt modelId="{5087209C-39DF-4137-8AA9-A08E074F7275}" type="pres">
      <dgm:prSet presAssocID="{9A7AD632-3F79-4CFA-B4D1-1F5ADBBA4154}" presName="horz1" presStyleCnt="0"/>
      <dgm:spPr/>
    </dgm:pt>
    <dgm:pt modelId="{2C08B6B3-97BD-4625-B4D6-1AC282A12B75}" type="pres">
      <dgm:prSet presAssocID="{9A7AD632-3F79-4CFA-B4D1-1F5ADBBA4154}" presName="tx1" presStyleLbl="revTx" presStyleIdx="0" presStyleCnt="16" custScaleX="157086"/>
      <dgm:spPr/>
    </dgm:pt>
    <dgm:pt modelId="{44CDD901-AA51-4D0B-95D7-1C0083FEF3ED}" type="pres">
      <dgm:prSet presAssocID="{9A7AD632-3F79-4CFA-B4D1-1F5ADBBA4154}" presName="vert1" presStyleCnt="0"/>
      <dgm:spPr/>
    </dgm:pt>
    <dgm:pt modelId="{3C9E9702-72A2-4C12-A80C-19718503C19D}" type="pres">
      <dgm:prSet presAssocID="{D059CE6F-B5C8-409F-9C64-AC71AF3E07E2}" presName="vertSpace2a" presStyleCnt="0"/>
      <dgm:spPr/>
    </dgm:pt>
    <dgm:pt modelId="{3491E184-5084-4D8D-ACE0-1838B4FB2727}" type="pres">
      <dgm:prSet presAssocID="{D059CE6F-B5C8-409F-9C64-AC71AF3E07E2}" presName="horz2" presStyleCnt="0"/>
      <dgm:spPr/>
    </dgm:pt>
    <dgm:pt modelId="{E33EC53D-D583-4537-851A-4188172E6D05}" type="pres">
      <dgm:prSet presAssocID="{D059CE6F-B5C8-409F-9C64-AC71AF3E07E2}" presName="horzSpace2" presStyleCnt="0"/>
      <dgm:spPr/>
    </dgm:pt>
    <dgm:pt modelId="{13DC874F-7BE1-4F1C-953F-A365676059F4}" type="pres">
      <dgm:prSet presAssocID="{D059CE6F-B5C8-409F-9C64-AC71AF3E07E2}" presName="tx2" presStyleLbl="revTx" presStyleIdx="1" presStyleCnt="16"/>
      <dgm:spPr/>
    </dgm:pt>
    <dgm:pt modelId="{065DFDE0-5C3D-4E5E-AD42-CC2B47ECC658}" type="pres">
      <dgm:prSet presAssocID="{D059CE6F-B5C8-409F-9C64-AC71AF3E07E2}" presName="vert2" presStyleCnt="0"/>
      <dgm:spPr/>
    </dgm:pt>
    <dgm:pt modelId="{944B96C3-8B10-4510-B54A-63734023139E}" type="pres">
      <dgm:prSet presAssocID="{D059CE6F-B5C8-409F-9C64-AC71AF3E07E2}" presName="thinLine2b" presStyleLbl="callout" presStyleIdx="0" presStyleCnt="12"/>
      <dgm:spPr/>
    </dgm:pt>
    <dgm:pt modelId="{9B92EC99-ECF5-4CFD-AFBE-03B0F6BDBF18}" type="pres">
      <dgm:prSet presAssocID="{D059CE6F-B5C8-409F-9C64-AC71AF3E07E2}" presName="vertSpace2b" presStyleCnt="0"/>
      <dgm:spPr/>
    </dgm:pt>
    <dgm:pt modelId="{CA7F41A0-7AA8-486E-AE65-82C47217DBF3}" type="pres">
      <dgm:prSet presAssocID="{3C933E66-AC8F-41AB-8866-C4346E02F7F8}" presName="horz2" presStyleCnt="0"/>
      <dgm:spPr/>
    </dgm:pt>
    <dgm:pt modelId="{92B183C3-03C3-4BBE-B80C-D40B9EC9CE05}" type="pres">
      <dgm:prSet presAssocID="{3C933E66-AC8F-41AB-8866-C4346E02F7F8}" presName="horzSpace2" presStyleCnt="0"/>
      <dgm:spPr/>
    </dgm:pt>
    <dgm:pt modelId="{2E25DAB7-4931-4195-BE27-7692C0334E0C}" type="pres">
      <dgm:prSet presAssocID="{3C933E66-AC8F-41AB-8866-C4346E02F7F8}" presName="tx2" presStyleLbl="revTx" presStyleIdx="2" presStyleCnt="16"/>
      <dgm:spPr/>
    </dgm:pt>
    <dgm:pt modelId="{B76EA395-5142-40B0-A53B-1CDBBA658869}" type="pres">
      <dgm:prSet presAssocID="{3C933E66-AC8F-41AB-8866-C4346E02F7F8}" presName="vert2" presStyleCnt="0"/>
      <dgm:spPr/>
    </dgm:pt>
    <dgm:pt modelId="{98E914D1-75D2-4493-B3E3-6A1FE8CBCF64}" type="pres">
      <dgm:prSet presAssocID="{3C933E66-AC8F-41AB-8866-C4346E02F7F8}" presName="thinLine2b" presStyleLbl="callout" presStyleIdx="1" presStyleCnt="12"/>
      <dgm:spPr/>
    </dgm:pt>
    <dgm:pt modelId="{90C811DE-6142-4B92-B905-290DA2F10080}" type="pres">
      <dgm:prSet presAssocID="{3C933E66-AC8F-41AB-8866-C4346E02F7F8}" presName="vertSpace2b" presStyleCnt="0"/>
      <dgm:spPr/>
    </dgm:pt>
    <dgm:pt modelId="{7DFBCEAB-56CC-4C4E-A9D7-52F52A5DCC56}" type="pres">
      <dgm:prSet presAssocID="{838A8ACF-7570-46C2-95BC-7B1A4E3E651F}" presName="horz2" presStyleCnt="0"/>
      <dgm:spPr/>
    </dgm:pt>
    <dgm:pt modelId="{D8B7275C-FD09-4537-8617-487F2F8CDE9B}" type="pres">
      <dgm:prSet presAssocID="{838A8ACF-7570-46C2-95BC-7B1A4E3E651F}" presName="horzSpace2" presStyleCnt="0"/>
      <dgm:spPr/>
    </dgm:pt>
    <dgm:pt modelId="{C87A14F1-01A4-403F-B3FD-F5DDCC16719B}" type="pres">
      <dgm:prSet presAssocID="{838A8ACF-7570-46C2-95BC-7B1A4E3E651F}" presName="tx2" presStyleLbl="revTx" presStyleIdx="3" presStyleCnt="16"/>
      <dgm:spPr/>
    </dgm:pt>
    <dgm:pt modelId="{F5EFD25A-735E-474C-B988-A03AFD15C7B7}" type="pres">
      <dgm:prSet presAssocID="{838A8ACF-7570-46C2-95BC-7B1A4E3E651F}" presName="vert2" presStyleCnt="0"/>
      <dgm:spPr/>
    </dgm:pt>
    <dgm:pt modelId="{3C909510-8AEB-4256-8A1B-D7DFF79127E8}" type="pres">
      <dgm:prSet presAssocID="{838A8ACF-7570-46C2-95BC-7B1A4E3E651F}" presName="thinLine2b" presStyleLbl="callout" presStyleIdx="2" presStyleCnt="12"/>
      <dgm:spPr/>
    </dgm:pt>
    <dgm:pt modelId="{8683574C-4C05-455D-B647-0C5B9F6C87C5}" type="pres">
      <dgm:prSet presAssocID="{838A8ACF-7570-46C2-95BC-7B1A4E3E651F}" presName="vertSpace2b" presStyleCnt="0"/>
      <dgm:spPr/>
    </dgm:pt>
    <dgm:pt modelId="{7FFB16CC-68B9-4F45-A9BB-BC726E0DB8E7}" type="pres">
      <dgm:prSet presAssocID="{58919718-D0C0-4E49-BED0-C39873FE8882}" presName="thickLine" presStyleLbl="alignNode1" presStyleIdx="1" presStyleCnt="4"/>
      <dgm:spPr/>
    </dgm:pt>
    <dgm:pt modelId="{2BC37BB5-B901-47DB-B6E0-2309FEDEB2BA}" type="pres">
      <dgm:prSet presAssocID="{58919718-D0C0-4E49-BED0-C39873FE8882}" presName="horz1" presStyleCnt="0"/>
      <dgm:spPr/>
    </dgm:pt>
    <dgm:pt modelId="{4C097D11-35B3-4E9C-B2BD-1205ABEEE9B1}" type="pres">
      <dgm:prSet presAssocID="{58919718-D0C0-4E49-BED0-C39873FE8882}" presName="tx1" presStyleLbl="revTx" presStyleIdx="4" presStyleCnt="16" custScaleX="156744"/>
      <dgm:spPr/>
    </dgm:pt>
    <dgm:pt modelId="{31532BEB-98C6-4E6D-9E85-A37C5C59C621}" type="pres">
      <dgm:prSet presAssocID="{58919718-D0C0-4E49-BED0-C39873FE8882}" presName="vert1" presStyleCnt="0"/>
      <dgm:spPr/>
    </dgm:pt>
    <dgm:pt modelId="{51E8A465-36EF-4A7B-B194-806BA83728D2}" type="pres">
      <dgm:prSet presAssocID="{3D834F28-AEC8-463F-9E82-CFCC8A74EFB5}" presName="vertSpace2a" presStyleCnt="0"/>
      <dgm:spPr/>
    </dgm:pt>
    <dgm:pt modelId="{8033AC04-C3EC-4F4E-A933-A6EEA6DB0FBC}" type="pres">
      <dgm:prSet presAssocID="{3D834F28-AEC8-463F-9E82-CFCC8A74EFB5}" presName="horz2" presStyleCnt="0"/>
      <dgm:spPr/>
    </dgm:pt>
    <dgm:pt modelId="{6BDE1EBA-A3FD-4FB4-BAB4-C44D230EB524}" type="pres">
      <dgm:prSet presAssocID="{3D834F28-AEC8-463F-9E82-CFCC8A74EFB5}" presName="horzSpace2" presStyleCnt="0"/>
      <dgm:spPr/>
    </dgm:pt>
    <dgm:pt modelId="{25EAFB26-8EB8-4DB6-9D26-BB862F598463}" type="pres">
      <dgm:prSet presAssocID="{3D834F28-AEC8-463F-9E82-CFCC8A74EFB5}" presName="tx2" presStyleLbl="revTx" presStyleIdx="5" presStyleCnt="16"/>
      <dgm:spPr/>
    </dgm:pt>
    <dgm:pt modelId="{C085A781-64A3-44CF-94FD-7F20E3CB46FE}" type="pres">
      <dgm:prSet presAssocID="{3D834F28-AEC8-463F-9E82-CFCC8A74EFB5}" presName="vert2" presStyleCnt="0"/>
      <dgm:spPr/>
    </dgm:pt>
    <dgm:pt modelId="{51E4F694-5AE5-468F-85E7-CA16BCCD6604}" type="pres">
      <dgm:prSet presAssocID="{3D834F28-AEC8-463F-9E82-CFCC8A74EFB5}" presName="thinLine2b" presStyleLbl="callout" presStyleIdx="3" presStyleCnt="12"/>
      <dgm:spPr/>
    </dgm:pt>
    <dgm:pt modelId="{6112644E-0818-4F43-B89B-ADECA2774BCD}" type="pres">
      <dgm:prSet presAssocID="{3D834F28-AEC8-463F-9E82-CFCC8A74EFB5}" presName="vertSpace2b" presStyleCnt="0"/>
      <dgm:spPr/>
    </dgm:pt>
    <dgm:pt modelId="{E48D20AC-485F-4BBD-ABDE-5C623898CD4E}" type="pres">
      <dgm:prSet presAssocID="{50949B8F-B2CC-430A-85D4-87FE2CBECF5A}" presName="horz2" presStyleCnt="0"/>
      <dgm:spPr/>
    </dgm:pt>
    <dgm:pt modelId="{AB003A7A-B9C7-43BD-B93F-A7BF8BE0DBCA}" type="pres">
      <dgm:prSet presAssocID="{50949B8F-B2CC-430A-85D4-87FE2CBECF5A}" presName="horzSpace2" presStyleCnt="0"/>
      <dgm:spPr/>
    </dgm:pt>
    <dgm:pt modelId="{14CB11AB-761F-4EEE-B55B-707C0E863DCA}" type="pres">
      <dgm:prSet presAssocID="{50949B8F-B2CC-430A-85D4-87FE2CBECF5A}" presName="tx2" presStyleLbl="revTx" presStyleIdx="6" presStyleCnt="16"/>
      <dgm:spPr/>
    </dgm:pt>
    <dgm:pt modelId="{031669AE-D835-40AB-A4A9-BA0157875DDE}" type="pres">
      <dgm:prSet presAssocID="{50949B8F-B2CC-430A-85D4-87FE2CBECF5A}" presName="vert2" presStyleCnt="0"/>
      <dgm:spPr/>
    </dgm:pt>
    <dgm:pt modelId="{0BBE5728-23A7-4042-A3C1-521CDD0A17AF}" type="pres">
      <dgm:prSet presAssocID="{50949B8F-B2CC-430A-85D4-87FE2CBECF5A}" presName="thinLine2b" presStyleLbl="callout" presStyleIdx="4" presStyleCnt="12"/>
      <dgm:spPr/>
    </dgm:pt>
    <dgm:pt modelId="{CF56EFA6-71B7-4A0C-8F6A-C8AB316417B6}" type="pres">
      <dgm:prSet presAssocID="{50949B8F-B2CC-430A-85D4-87FE2CBECF5A}" presName="vertSpace2b" presStyleCnt="0"/>
      <dgm:spPr/>
    </dgm:pt>
    <dgm:pt modelId="{62C8A333-6117-4B72-9EA6-17CADF8098B9}" type="pres">
      <dgm:prSet presAssocID="{17288632-7FB5-4888-9050-DC341B2AA330}" presName="horz2" presStyleCnt="0"/>
      <dgm:spPr/>
    </dgm:pt>
    <dgm:pt modelId="{7CBC7C48-95F0-4253-A033-A08415B9B88C}" type="pres">
      <dgm:prSet presAssocID="{17288632-7FB5-4888-9050-DC341B2AA330}" presName="horzSpace2" presStyleCnt="0"/>
      <dgm:spPr/>
    </dgm:pt>
    <dgm:pt modelId="{6E7084F6-DC99-4675-9ADF-7027C8EFAEDD}" type="pres">
      <dgm:prSet presAssocID="{17288632-7FB5-4888-9050-DC341B2AA330}" presName="tx2" presStyleLbl="revTx" presStyleIdx="7" presStyleCnt="16"/>
      <dgm:spPr/>
    </dgm:pt>
    <dgm:pt modelId="{E32FC4AF-7098-4174-B9FD-41C8122B4DC2}" type="pres">
      <dgm:prSet presAssocID="{17288632-7FB5-4888-9050-DC341B2AA330}" presName="vert2" presStyleCnt="0"/>
      <dgm:spPr/>
    </dgm:pt>
    <dgm:pt modelId="{77C08CB1-4533-4778-BD62-CEDCF5984EAB}" type="pres">
      <dgm:prSet presAssocID="{17288632-7FB5-4888-9050-DC341B2AA330}" presName="thinLine2b" presStyleLbl="callout" presStyleIdx="5" presStyleCnt="12"/>
      <dgm:spPr/>
    </dgm:pt>
    <dgm:pt modelId="{E84BA66E-29C2-4448-B411-129D4F9E6899}" type="pres">
      <dgm:prSet presAssocID="{17288632-7FB5-4888-9050-DC341B2AA330}" presName="vertSpace2b" presStyleCnt="0"/>
      <dgm:spPr/>
    </dgm:pt>
    <dgm:pt modelId="{7F5F643E-81F6-4A62-87EA-06BF0B517603}" type="pres">
      <dgm:prSet presAssocID="{2C8E19FD-4A16-4800-B353-E2712DB6BDC3}" presName="thickLine" presStyleLbl="alignNode1" presStyleIdx="2" presStyleCnt="4"/>
      <dgm:spPr/>
    </dgm:pt>
    <dgm:pt modelId="{6B5E4747-2B7E-4C11-9BE7-B84956CD8D62}" type="pres">
      <dgm:prSet presAssocID="{2C8E19FD-4A16-4800-B353-E2712DB6BDC3}" presName="horz1" presStyleCnt="0"/>
      <dgm:spPr/>
    </dgm:pt>
    <dgm:pt modelId="{70881656-B027-460E-B467-CD2B66E321B8}" type="pres">
      <dgm:prSet presAssocID="{2C8E19FD-4A16-4800-B353-E2712DB6BDC3}" presName="tx1" presStyleLbl="revTx" presStyleIdx="8" presStyleCnt="16" custScaleX="157431"/>
      <dgm:spPr/>
    </dgm:pt>
    <dgm:pt modelId="{FDA014C3-DA4F-42BF-884F-1750C24FC0FF}" type="pres">
      <dgm:prSet presAssocID="{2C8E19FD-4A16-4800-B353-E2712DB6BDC3}" presName="vert1" presStyleCnt="0"/>
      <dgm:spPr/>
    </dgm:pt>
    <dgm:pt modelId="{BF37BA01-0311-41C8-8430-CAB6BD87D04F}" type="pres">
      <dgm:prSet presAssocID="{42D662F1-653A-499C-ACB0-717F3E88477B}" presName="vertSpace2a" presStyleCnt="0"/>
      <dgm:spPr/>
    </dgm:pt>
    <dgm:pt modelId="{6B43F7FF-9530-496D-9769-E12F64D4D24B}" type="pres">
      <dgm:prSet presAssocID="{42D662F1-653A-499C-ACB0-717F3E88477B}" presName="horz2" presStyleCnt="0"/>
      <dgm:spPr/>
    </dgm:pt>
    <dgm:pt modelId="{2EEF801A-BAF8-4371-879B-C930C0527184}" type="pres">
      <dgm:prSet presAssocID="{42D662F1-653A-499C-ACB0-717F3E88477B}" presName="horzSpace2" presStyleCnt="0"/>
      <dgm:spPr/>
    </dgm:pt>
    <dgm:pt modelId="{0B8E6471-7D7E-4C93-B640-8AF1D38D8D08}" type="pres">
      <dgm:prSet presAssocID="{42D662F1-653A-499C-ACB0-717F3E88477B}" presName="tx2" presStyleLbl="revTx" presStyleIdx="9" presStyleCnt="16"/>
      <dgm:spPr/>
    </dgm:pt>
    <dgm:pt modelId="{3305874E-5AD1-43F2-BCFF-411711A66290}" type="pres">
      <dgm:prSet presAssocID="{42D662F1-653A-499C-ACB0-717F3E88477B}" presName="vert2" presStyleCnt="0"/>
      <dgm:spPr/>
    </dgm:pt>
    <dgm:pt modelId="{DF2A03A3-2D8D-470C-AA3B-BF44658D84CE}" type="pres">
      <dgm:prSet presAssocID="{42D662F1-653A-499C-ACB0-717F3E88477B}" presName="thinLine2b" presStyleLbl="callout" presStyleIdx="6" presStyleCnt="12"/>
      <dgm:spPr/>
    </dgm:pt>
    <dgm:pt modelId="{04650E35-2D24-4F10-9C03-6285A1BF66AA}" type="pres">
      <dgm:prSet presAssocID="{42D662F1-653A-499C-ACB0-717F3E88477B}" presName="vertSpace2b" presStyleCnt="0"/>
      <dgm:spPr/>
    </dgm:pt>
    <dgm:pt modelId="{AA67EEDD-FF7A-40AA-816B-7B0083A0C210}" type="pres">
      <dgm:prSet presAssocID="{6208D051-AC07-451A-AC77-1E661C5A658B}" presName="horz2" presStyleCnt="0"/>
      <dgm:spPr/>
    </dgm:pt>
    <dgm:pt modelId="{2971533F-22C9-44FB-95E9-2D6BB62DFEDF}" type="pres">
      <dgm:prSet presAssocID="{6208D051-AC07-451A-AC77-1E661C5A658B}" presName="horzSpace2" presStyleCnt="0"/>
      <dgm:spPr/>
    </dgm:pt>
    <dgm:pt modelId="{6D8A0ABF-5852-4490-97E8-CED07070552F}" type="pres">
      <dgm:prSet presAssocID="{6208D051-AC07-451A-AC77-1E661C5A658B}" presName="tx2" presStyleLbl="revTx" presStyleIdx="10" presStyleCnt="16"/>
      <dgm:spPr/>
    </dgm:pt>
    <dgm:pt modelId="{C43AB8A1-A470-443C-AC0E-35675C8A57D7}" type="pres">
      <dgm:prSet presAssocID="{6208D051-AC07-451A-AC77-1E661C5A658B}" presName="vert2" presStyleCnt="0"/>
      <dgm:spPr/>
    </dgm:pt>
    <dgm:pt modelId="{2FD803F9-7840-4E37-8C4E-0F26C7598EF5}" type="pres">
      <dgm:prSet presAssocID="{6208D051-AC07-451A-AC77-1E661C5A658B}" presName="thinLine2b" presStyleLbl="callout" presStyleIdx="7" presStyleCnt="12"/>
      <dgm:spPr/>
    </dgm:pt>
    <dgm:pt modelId="{A70F1A3A-6013-47F0-80E3-1E60A4F6B24D}" type="pres">
      <dgm:prSet presAssocID="{6208D051-AC07-451A-AC77-1E661C5A658B}" presName="vertSpace2b" presStyleCnt="0"/>
      <dgm:spPr/>
    </dgm:pt>
    <dgm:pt modelId="{AF89DD85-AEE8-4D3B-9A55-F0CB82E88BE5}" type="pres">
      <dgm:prSet presAssocID="{FF427687-DBBB-4F46-82F3-7F280870EE10}" presName="horz2" presStyleCnt="0"/>
      <dgm:spPr/>
    </dgm:pt>
    <dgm:pt modelId="{DB80DEA8-FBD3-422D-916E-6D5C81B5D7BA}" type="pres">
      <dgm:prSet presAssocID="{FF427687-DBBB-4F46-82F3-7F280870EE10}" presName="horzSpace2" presStyleCnt="0"/>
      <dgm:spPr/>
    </dgm:pt>
    <dgm:pt modelId="{D2B2EA61-775C-494C-AB7E-EF654122A790}" type="pres">
      <dgm:prSet presAssocID="{FF427687-DBBB-4F46-82F3-7F280870EE10}" presName="tx2" presStyleLbl="revTx" presStyleIdx="11" presStyleCnt="16"/>
      <dgm:spPr/>
    </dgm:pt>
    <dgm:pt modelId="{483BB510-5BD5-4AE1-8341-63C463C1F896}" type="pres">
      <dgm:prSet presAssocID="{FF427687-DBBB-4F46-82F3-7F280870EE10}" presName="vert2" presStyleCnt="0"/>
      <dgm:spPr/>
    </dgm:pt>
    <dgm:pt modelId="{8B3C9E3B-BBFA-4CCC-AB6C-14050E0CA1DD}" type="pres">
      <dgm:prSet presAssocID="{FF427687-DBBB-4F46-82F3-7F280870EE10}" presName="thinLine2b" presStyleLbl="callout" presStyleIdx="8" presStyleCnt="12"/>
      <dgm:spPr/>
    </dgm:pt>
    <dgm:pt modelId="{6C06D01F-4C1A-42AC-AA9C-D0EF8A8DECEC}" type="pres">
      <dgm:prSet presAssocID="{FF427687-DBBB-4F46-82F3-7F280870EE10}" presName="vertSpace2b" presStyleCnt="0"/>
      <dgm:spPr/>
    </dgm:pt>
    <dgm:pt modelId="{A4AFCDA7-A307-4FDB-AD08-74E15F881E20}" type="pres">
      <dgm:prSet presAssocID="{BD5B1CD2-80AA-41A6-83AE-89A14CAA3C0F}" presName="thickLine" presStyleLbl="alignNode1" presStyleIdx="3" presStyleCnt="4"/>
      <dgm:spPr/>
    </dgm:pt>
    <dgm:pt modelId="{3C8445DD-B840-4F38-B4D5-1A5AB91B9130}" type="pres">
      <dgm:prSet presAssocID="{BD5B1CD2-80AA-41A6-83AE-89A14CAA3C0F}" presName="horz1" presStyleCnt="0"/>
      <dgm:spPr/>
    </dgm:pt>
    <dgm:pt modelId="{E996D052-38D0-48BF-A8DA-CD746879277B}" type="pres">
      <dgm:prSet presAssocID="{BD5B1CD2-80AA-41A6-83AE-89A14CAA3C0F}" presName="tx1" presStyleLbl="revTx" presStyleIdx="12" presStyleCnt="16" custScaleX="161499"/>
      <dgm:spPr/>
    </dgm:pt>
    <dgm:pt modelId="{7DBD2E6B-CAFD-4ED6-A611-B9AB5B18336B}" type="pres">
      <dgm:prSet presAssocID="{BD5B1CD2-80AA-41A6-83AE-89A14CAA3C0F}" presName="vert1" presStyleCnt="0"/>
      <dgm:spPr/>
    </dgm:pt>
    <dgm:pt modelId="{6D0B5E13-D7D2-42E6-82DB-D4B33D6882F5}" type="pres">
      <dgm:prSet presAssocID="{A978B9CD-E3D4-4952-99C1-5D20EAFC20FE}" presName="vertSpace2a" presStyleCnt="0"/>
      <dgm:spPr/>
    </dgm:pt>
    <dgm:pt modelId="{C76A7133-D305-4C3C-82E0-07D6E25CBE7D}" type="pres">
      <dgm:prSet presAssocID="{A978B9CD-E3D4-4952-99C1-5D20EAFC20FE}" presName="horz2" presStyleCnt="0"/>
      <dgm:spPr/>
    </dgm:pt>
    <dgm:pt modelId="{BEEFEAFA-8D2D-43AE-AAD5-0A1FD7C1531F}" type="pres">
      <dgm:prSet presAssocID="{A978B9CD-E3D4-4952-99C1-5D20EAFC20FE}" presName="horzSpace2" presStyleCnt="0"/>
      <dgm:spPr/>
    </dgm:pt>
    <dgm:pt modelId="{8CD49625-759E-4D8C-8DDE-EDF2EC375814}" type="pres">
      <dgm:prSet presAssocID="{A978B9CD-E3D4-4952-99C1-5D20EAFC20FE}" presName="tx2" presStyleLbl="revTx" presStyleIdx="13" presStyleCnt="16"/>
      <dgm:spPr/>
    </dgm:pt>
    <dgm:pt modelId="{0FB8EAE4-4B01-42B4-B4BB-CCF4F88055F7}" type="pres">
      <dgm:prSet presAssocID="{A978B9CD-E3D4-4952-99C1-5D20EAFC20FE}" presName="vert2" presStyleCnt="0"/>
      <dgm:spPr/>
    </dgm:pt>
    <dgm:pt modelId="{C6A8E45E-043D-42BA-8AFE-D97D463D57B7}" type="pres">
      <dgm:prSet presAssocID="{A978B9CD-E3D4-4952-99C1-5D20EAFC20FE}" presName="thinLine2b" presStyleLbl="callout" presStyleIdx="9" presStyleCnt="12"/>
      <dgm:spPr/>
    </dgm:pt>
    <dgm:pt modelId="{85368169-E7B6-4D88-BC42-564C139596A9}" type="pres">
      <dgm:prSet presAssocID="{A978B9CD-E3D4-4952-99C1-5D20EAFC20FE}" presName="vertSpace2b" presStyleCnt="0"/>
      <dgm:spPr/>
    </dgm:pt>
    <dgm:pt modelId="{C244544B-5EED-49F6-BFD7-0EFED12F2403}" type="pres">
      <dgm:prSet presAssocID="{43FAD649-01C7-412E-93B5-C370E41373C4}" presName="horz2" presStyleCnt="0"/>
      <dgm:spPr/>
    </dgm:pt>
    <dgm:pt modelId="{0E953956-E60A-4521-8422-EA11D9F1F397}" type="pres">
      <dgm:prSet presAssocID="{43FAD649-01C7-412E-93B5-C370E41373C4}" presName="horzSpace2" presStyleCnt="0"/>
      <dgm:spPr/>
    </dgm:pt>
    <dgm:pt modelId="{8DC842D7-065E-47EE-B32A-6C0545C0FB35}" type="pres">
      <dgm:prSet presAssocID="{43FAD649-01C7-412E-93B5-C370E41373C4}" presName="tx2" presStyleLbl="revTx" presStyleIdx="14" presStyleCnt="16"/>
      <dgm:spPr/>
    </dgm:pt>
    <dgm:pt modelId="{91B75E57-EAFD-40CD-BCCC-0F8C19CE8119}" type="pres">
      <dgm:prSet presAssocID="{43FAD649-01C7-412E-93B5-C370E41373C4}" presName="vert2" presStyleCnt="0"/>
      <dgm:spPr/>
    </dgm:pt>
    <dgm:pt modelId="{DF3F66BF-17DD-45E2-A2A1-2AAF723FB623}" type="pres">
      <dgm:prSet presAssocID="{43FAD649-01C7-412E-93B5-C370E41373C4}" presName="thinLine2b" presStyleLbl="callout" presStyleIdx="10" presStyleCnt="12"/>
      <dgm:spPr/>
    </dgm:pt>
    <dgm:pt modelId="{7A7C525F-72D5-4073-BB3F-6C4809263B1A}" type="pres">
      <dgm:prSet presAssocID="{43FAD649-01C7-412E-93B5-C370E41373C4}" presName="vertSpace2b" presStyleCnt="0"/>
      <dgm:spPr/>
    </dgm:pt>
    <dgm:pt modelId="{F9FA0C2C-9F14-4DC2-ADA5-1E7EE4907B1D}" type="pres">
      <dgm:prSet presAssocID="{097EAFC8-F7BF-466A-A34D-3B7FA18A696B}" presName="horz2" presStyleCnt="0"/>
      <dgm:spPr/>
    </dgm:pt>
    <dgm:pt modelId="{1C4CC0AD-07EF-4B96-886A-E61348B9C9DA}" type="pres">
      <dgm:prSet presAssocID="{097EAFC8-F7BF-466A-A34D-3B7FA18A696B}" presName="horzSpace2" presStyleCnt="0"/>
      <dgm:spPr/>
    </dgm:pt>
    <dgm:pt modelId="{6011A97B-A169-492D-A7F4-1DBEA187EBD7}" type="pres">
      <dgm:prSet presAssocID="{097EAFC8-F7BF-466A-A34D-3B7FA18A696B}" presName="tx2" presStyleLbl="revTx" presStyleIdx="15" presStyleCnt="16"/>
      <dgm:spPr/>
    </dgm:pt>
    <dgm:pt modelId="{EECAF440-0C8B-46A2-9EF9-B66F182BCFFC}" type="pres">
      <dgm:prSet presAssocID="{097EAFC8-F7BF-466A-A34D-3B7FA18A696B}" presName="vert2" presStyleCnt="0"/>
      <dgm:spPr/>
    </dgm:pt>
    <dgm:pt modelId="{976C0F0A-1FAD-489A-99D8-316E7D906BD2}" type="pres">
      <dgm:prSet presAssocID="{097EAFC8-F7BF-466A-A34D-3B7FA18A696B}" presName="thinLine2b" presStyleLbl="callout" presStyleIdx="11" presStyleCnt="12"/>
      <dgm:spPr/>
    </dgm:pt>
    <dgm:pt modelId="{537D94B0-1D1F-4F95-BB51-28D11750524C}" type="pres">
      <dgm:prSet presAssocID="{097EAFC8-F7BF-466A-A34D-3B7FA18A696B}" presName="vertSpace2b" presStyleCnt="0"/>
      <dgm:spPr/>
    </dgm:pt>
  </dgm:ptLst>
  <dgm:cxnLst>
    <dgm:cxn modelId="{1D9A370A-D680-4450-8693-3B15A618E42E}" srcId="{BD5B1CD2-80AA-41A6-83AE-89A14CAA3C0F}" destId="{A978B9CD-E3D4-4952-99C1-5D20EAFC20FE}" srcOrd="0" destOrd="0" parTransId="{6DE80205-F7EB-4867-B126-6FFD14ACB95D}" sibTransId="{5A08FFC9-E1BF-4B28-832A-09D236D631AD}"/>
    <dgm:cxn modelId="{205D091E-2487-47A1-A026-585D4B1E3DE7}" type="presOf" srcId="{9A7AD632-3F79-4CFA-B4D1-1F5ADBBA4154}" destId="{2C08B6B3-97BD-4625-B4D6-1AC282A12B75}" srcOrd="0" destOrd="0" presId="urn:microsoft.com/office/officeart/2008/layout/LinedList"/>
    <dgm:cxn modelId="{562A1C37-3463-43DA-B07E-4F6BF1433B26}" type="presOf" srcId="{42D662F1-653A-499C-ACB0-717F3E88477B}" destId="{0B8E6471-7D7E-4C93-B640-8AF1D38D8D08}" srcOrd="0" destOrd="0" presId="urn:microsoft.com/office/officeart/2008/layout/LinedList"/>
    <dgm:cxn modelId="{15C71C37-05AE-45D7-9304-D1D81E2DC715}" type="presOf" srcId="{50949B8F-B2CC-430A-85D4-87FE2CBECF5A}" destId="{14CB11AB-761F-4EEE-B55B-707C0E863DCA}" srcOrd="0" destOrd="0" presId="urn:microsoft.com/office/officeart/2008/layout/LinedList"/>
    <dgm:cxn modelId="{D41B303C-19E1-47F9-9BDF-CB6A3356D691}" type="presOf" srcId="{6208D051-AC07-451A-AC77-1E661C5A658B}" destId="{6D8A0ABF-5852-4490-97E8-CED07070552F}" srcOrd="0" destOrd="0" presId="urn:microsoft.com/office/officeart/2008/layout/LinedList"/>
    <dgm:cxn modelId="{34BE7D5D-7BD6-44BC-B228-345B87DDF256}" type="presOf" srcId="{D059CE6F-B5C8-409F-9C64-AC71AF3E07E2}" destId="{13DC874F-7BE1-4F1C-953F-A365676059F4}" srcOrd="0" destOrd="0" presId="urn:microsoft.com/office/officeart/2008/layout/LinedList"/>
    <dgm:cxn modelId="{0C208445-E006-4156-88DC-5009F5B1FB79}" srcId="{2C8E19FD-4A16-4800-B353-E2712DB6BDC3}" destId="{6208D051-AC07-451A-AC77-1E661C5A658B}" srcOrd="1" destOrd="0" parTransId="{803B53FE-19B9-494B-B36B-D2344804FD1A}" sibTransId="{B9868A33-039D-4D9A-AA55-7D887EB1E92D}"/>
    <dgm:cxn modelId="{DE5FCD66-5209-442B-BBF5-5F8834255E6B}" srcId="{F6B1A30B-B7D9-4DC0-8E0D-BEAF1340E565}" destId="{58919718-D0C0-4E49-BED0-C39873FE8882}" srcOrd="1" destOrd="0" parTransId="{92FF06FD-FA2E-456F-AC6A-627726A13444}" sibTransId="{DA764988-94AC-4B89-841C-BE7A5FD5B29A}"/>
    <dgm:cxn modelId="{4F6C474B-6AB3-4B2A-B3C9-2021771C4F21}" srcId="{BD5B1CD2-80AA-41A6-83AE-89A14CAA3C0F}" destId="{43FAD649-01C7-412E-93B5-C370E41373C4}" srcOrd="1" destOrd="0" parTransId="{8093109E-D97E-49EE-8C6F-9A200E7D76D9}" sibTransId="{49DE8CE3-2073-4A85-91E4-A57F47CBB399}"/>
    <dgm:cxn modelId="{822C594B-FF18-49C2-9DD9-31381E953840}" type="presOf" srcId="{A978B9CD-E3D4-4952-99C1-5D20EAFC20FE}" destId="{8CD49625-759E-4D8C-8DDE-EDF2EC375814}" srcOrd="0" destOrd="0" presId="urn:microsoft.com/office/officeart/2008/layout/LinedList"/>
    <dgm:cxn modelId="{7A89B76C-3565-47B5-99A9-3C663501AD78}" type="presOf" srcId="{43FAD649-01C7-412E-93B5-C370E41373C4}" destId="{8DC842D7-065E-47EE-B32A-6C0545C0FB35}" srcOrd="0" destOrd="0" presId="urn:microsoft.com/office/officeart/2008/layout/LinedList"/>
    <dgm:cxn modelId="{63E41851-EDB0-48F0-B553-8079B5D03507}" type="presOf" srcId="{2C8E19FD-4A16-4800-B353-E2712DB6BDC3}" destId="{70881656-B027-460E-B467-CD2B66E321B8}" srcOrd="0" destOrd="0" presId="urn:microsoft.com/office/officeart/2008/layout/LinedList"/>
    <dgm:cxn modelId="{94BAAF55-24DB-40B8-9377-8662080709ED}" srcId="{9A7AD632-3F79-4CFA-B4D1-1F5ADBBA4154}" destId="{D059CE6F-B5C8-409F-9C64-AC71AF3E07E2}" srcOrd="0" destOrd="0" parTransId="{FBF41501-04F6-4BC2-955A-2D6B5939348F}" sibTransId="{D6726D0F-0434-4F53-BA61-04AAE96E8C79}"/>
    <dgm:cxn modelId="{1BB3F07C-6D81-45E4-8380-B92B4623D002}" type="presOf" srcId="{58919718-D0C0-4E49-BED0-C39873FE8882}" destId="{4C097D11-35B3-4E9C-B2BD-1205ABEEE9B1}" srcOrd="0" destOrd="0" presId="urn:microsoft.com/office/officeart/2008/layout/LinedList"/>
    <dgm:cxn modelId="{E19F5894-EA0E-4CA2-99D2-03B6F90EA7F6}" srcId="{9A7AD632-3F79-4CFA-B4D1-1F5ADBBA4154}" destId="{838A8ACF-7570-46C2-95BC-7B1A4E3E651F}" srcOrd="2" destOrd="0" parTransId="{CC44B864-888C-46F7-A8C0-AA5E6A31599E}" sibTransId="{E59B460F-E525-4969-8AE1-F2C771B36376}"/>
    <dgm:cxn modelId="{E0956099-64E5-4A4D-BBAD-2850BF808AE4}" srcId="{2C8E19FD-4A16-4800-B353-E2712DB6BDC3}" destId="{FF427687-DBBB-4F46-82F3-7F280870EE10}" srcOrd="2" destOrd="0" parTransId="{10AD0263-8E94-4911-84DE-CC51AB74FD8C}" sibTransId="{DF1CA898-D8DF-47B7-8450-0E847540D349}"/>
    <dgm:cxn modelId="{140FEDA5-17C1-4E9E-90C0-6326609B8471}" type="presOf" srcId="{BD5B1CD2-80AA-41A6-83AE-89A14CAA3C0F}" destId="{E996D052-38D0-48BF-A8DA-CD746879277B}" srcOrd="0" destOrd="0" presId="urn:microsoft.com/office/officeart/2008/layout/LinedList"/>
    <dgm:cxn modelId="{177B40AB-F94B-4085-8C5C-B9130B8C465E}" type="presOf" srcId="{3D834F28-AEC8-463F-9E82-CFCC8A74EFB5}" destId="{25EAFB26-8EB8-4DB6-9D26-BB862F598463}" srcOrd="0" destOrd="0" presId="urn:microsoft.com/office/officeart/2008/layout/LinedList"/>
    <dgm:cxn modelId="{374DFEB1-86A8-485D-9FC9-1AD322E6F11B}" type="presOf" srcId="{3C933E66-AC8F-41AB-8866-C4346E02F7F8}" destId="{2E25DAB7-4931-4195-BE27-7692C0334E0C}" srcOrd="0" destOrd="0" presId="urn:microsoft.com/office/officeart/2008/layout/LinedList"/>
    <dgm:cxn modelId="{6C0C4BB3-04B7-4C2C-B87A-78ADE903BB3C}" srcId="{F6B1A30B-B7D9-4DC0-8E0D-BEAF1340E565}" destId="{BD5B1CD2-80AA-41A6-83AE-89A14CAA3C0F}" srcOrd="3" destOrd="0" parTransId="{7B8BEBDC-6C22-49C0-965D-DA8CED3024A6}" sibTransId="{2A96458A-2CE4-4021-A0B9-E6068E4DE56B}"/>
    <dgm:cxn modelId="{F3F8B8B4-9FCE-4089-808D-AA1FC227B140}" type="presOf" srcId="{838A8ACF-7570-46C2-95BC-7B1A4E3E651F}" destId="{C87A14F1-01A4-403F-B3FD-F5DDCC16719B}" srcOrd="0" destOrd="0" presId="urn:microsoft.com/office/officeart/2008/layout/LinedList"/>
    <dgm:cxn modelId="{44BFF5BC-7C20-4C6F-A259-D7E337134C1C}" srcId="{58919718-D0C0-4E49-BED0-C39873FE8882}" destId="{3D834F28-AEC8-463F-9E82-CFCC8A74EFB5}" srcOrd="0" destOrd="0" parTransId="{8FDD933F-4B33-49DC-89E4-1F0FAB1F0970}" sibTransId="{2D8CE5EE-6201-43FB-AB81-DF94370F8882}"/>
    <dgm:cxn modelId="{E88E86BF-5075-4C30-B2B4-1F5D83BCB785}" srcId="{F6B1A30B-B7D9-4DC0-8E0D-BEAF1340E565}" destId="{2C8E19FD-4A16-4800-B353-E2712DB6BDC3}" srcOrd="2" destOrd="0" parTransId="{F76778F3-A921-4CBF-81E3-6257AB9AEC87}" sibTransId="{2C01794F-B54F-4A82-8516-E07062E308CE}"/>
    <dgm:cxn modelId="{D495FDBF-9CAA-4E18-84FB-BF04BE42E08E}" srcId="{2C8E19FD-4A16-4800-B353-E2712DB6BDC3}" destId="{42D662F1-653A-499C-ACB0-717F3E88477B}" srcOrd="0" destOrd="0" parTransId="{52D9F3E1-9421-495F-B844-B38F1AE11544}" sibTransId="{042BA68C-FBA1-45A2-A08B-F53C6C182C5D}"/>
    <dgm:cxn modelId="{B8DDADC0-3C48-494D-B55E-4C3A8DF96F8B}" type="presOf" srcId="{097EAFC8-F7BF-466A-A34D-3B7FA18A696B}" destId="{6011A97B-A169-492D-A7F4-1DBEA187EBD7}" srcOrd="0" destOrd="0" presId="urn:microsoft.com/office/officeart/2008/layout/LinedList"/>
    <dgm:cxn modelId="{AE8286C7-9B7A-4B0F-9047-C1953A528394}" srcId="{F6B1A30B-B7D9-4DC0-8E0D-BEAF1340E565}" destId="{9A7AD632-3F79-4CFA-B4D1-1F5ADBBA4154}" srcOrd="0" destOrd="0" parTransId="{ABCD7EC2-3DAC-4AB7-B8EF-16A873D3D24A}" sibTransId="{EBC0CD31-EBAF-44F8-9A6E-08625D0836B8}"/>
    <dgm:cxn modelId="{ED1783CB-A2D3-45EA-BC3D-E65B42217F4D}" srcId="{58919718-D0C0-4E49-BED0-C39873FE8882}" destId="{50949B8F-B2CC-430A-85D4-87FE2CBECF5A}" srcOrd="1" destOrd="0" parTransId="{603DC69A-9C6F-4C39-B9EE-2B688FED97C6}" sibTransId="{269F5947-D8A4-44BD-8ABB-E87C7767B79D}"/>
    <dgm:cxn modelId="{9C1EDACC-B72B-43F9-907C-F1D1DDF0F492}" srcId="{58919718-D0C0-4E49-BED0-C39873FE8882}" destId="{17288632-7FB5-4888-9050-DC341B2AA330}" srcOrd="2" destOrd="0" parTransId="{B42ADEC6-C609-42AE-80A2-DD9681C9EE09}" sibTransId="{B2645BBC-8119-4417-AE19-F3EF308C0C9E}"/>
    <dgm:cxn modelId="{26A2D1E1-6FA4-4521-814D-8C2184964BF3}" type="presOf" srcId="{FF427687-DBBB-4F46-82F3-7F280870EE10}" destId="{D2B2EA61-775C-494C-AB7E-EF654122A790}" srcOrd="0" destOrd="0" presId="urn:microsoft.com/office/officeart/2008/layout/LinedList"/>
    <dgm:cxn modelId="{A68DDAEC-63A1-481E-8C6C-D5823848FED7}" type="presOf" srcId="{17288632-7FB5-4888-9050-DC341B2AA330}" destId="{6E7084F6-DC99-4675-9ADF-7027C8EFAEDD}" srcOrd="0" destOrd="0" presId="urn:microsoft.com/office/officeart/2008/layout/LinedList"/>
    <dgm:cxn modelId="{323E83F1-4819-4C40-8EC6-D33AD52991D6}" srcId="{9A7AD632-3F79-4CFA-B4D1-1F5ADBBA4154}" destId="{3C933E66-AC8F-41AB-8866-C4346E02F7F8}" srcOrd="1" destOrd="0" parTransId="{7B3FC03D-17C9-498D-85EE-0E3DFADF5BB2}" sibTransId="{8B0A28E7-CB9F-4479-9A62-F3DB93CB819C}"/>
    <dgm:cxn modelId="{C9B915F5-377F-450F-8443-5E374063FEBD}" type="presOf" srcId="{F6B1A30B-B7D9-4DC0-8E0D-BEAF1340E565}" destId="{DBB7E914-F553-4231-B133-35D190D73016}" srcOrd="0" destOrd="0" presId="urn:microsoft.com/office/officeart/2008/layout/LinedList"/>
    <dgm:cxn modelId="{6233C3F8-9E14-479A-9F12-D83C814BA894}" srcId="{BD5B1CD2-80AA-41A6-83AE-89A14CAA3C0F}" destId="{097EAFC8-F7BF-466A-A34D-3B7FA18A696B}" srcOrd="2" destOrd="0" parTransId="{05E27379-D54E-42DB-BB98-14F507D1468B}" sibTransId="{CA0C0E3A-95BE-4048-807A-FD3A6F47156C}"/>
    <dgm:cxn modelId="{67F2E94D-89FA-4DEE-BA32-260CE8C35504}" type="presParOf" srcId="{DBB7E914-F553-4231-B133-35D190D73016}" destId="{80EF7000-3C5D-4984-82DD-8B9FD78900CA}" srcOrd="0" destOrd="0" presId="urn:microsoft.com/office/officeart/2008/layout/LinedList"/>
    <dgm:cxn modelId="{A6DA2B78-5A2A-4830-9CE7-C05971314BE4}" type="presParOf" srcId="{DBB7E914-F553-4231-B133-35D190D73016}" destId="{5087209C-39DF-4137-8AA9-A08E074F7275}" srcOrd="1" destOrd="0" presId="urn:microsoft.com/office/officeart/2008/layout/LinedList"/>
    <dgm:cxn modelId="{D77F538D-0787-4F49-8858-9ADA1FD122F1}" type="presParOf" srcId="{5087209C-39DF-4137-8AA9-A08E074F7275}" destId="{2C08B6B3-97BD-4625-B4D6-1AC282A12B75}" srcOrd="0" destOrd="0" presId="urn:microsoft.com/office/officeart/2008/layout/LinedList"/>
    <dgm:cxn modelId="{E32CBDE6-3E20-4193-9890-3C9342D5FDD6}" type="presParOf" srcId="{5087209C-39DF-4137-8AA9-A08E074F7275}" destId="{44CDD901-AA51-4D0B-95D7-1C0083FEF3ED}" srcOrd="1" destOrd="0" presId="urn:microsoft.com/office/officeart/2008/layout/LinedList"/>
    <dgm:cxn modelId="{E82813A4-2ACC-4A47-8552-7D15CB21E1A5}" type="presParOf" srcId="{44CDD901-AA51-4D0B-95D7-1C0083FEF3ED}" destId="{3C9E9702-72A2-4C12-A80C-19718503C19D}" srcOrd="0" destOrd="0" presId="urn:microsoft.com/office/officeart/2008/layout/LinedList"/>
    <dgm:cxn modelId="{DA21EEDE-4527-4775-A7F4-9CB2FDCEE875}" type="presParOf" srcId="{44CDD901-AA51-4D0B-95D7-1C0083FEF3ED}" destId="{3491E184-5084-4D8D-ACE0-1838B4FB2727}" srcOrd="1" destOrd="0" presId="urn:microsoft.com/office/officeart/2008/layout/LinedList"/>
    <dgm:cxn modelId="{4C05C503-02A9-4DAE-80FC-22025854A905}" type="presParOf" srcId="{3491E184-5084-4D8D-ACE0-1838B4FB2727}" destId="{E33EC53D-D583-4537-851A-4188172E6D05}" srcOrd="0" destOrd="0" presId="urn:microsoft.com/office/officeart/2008/layout/LinedList"/>
    <dgm:cxn modelId="{84A355E4-5E7F-401F-90A6-5F80AA7BA266}" type="presParOf" srcId="{3491E184-5084-4D8D-ACE0-1838B4FB2727}" destId="{13DC874F-7BE1-4F1C-953F-A365676059F4}" srcOrd="1" destOrd="0" presId="urn:microsoft.com/office/officeart/2008/layout/LinedList"/>
    <dgm:cxn modelId="{6A8B85EA-D6AD-4128-8AB5-AB4F5662C224}" type="presParOf" srcId="{3491E184-5084-4D8D-ACE0-1838B4FB2727}" destId="{065DFDE0-5C3D-4E5E-AD42-CC2B47ECC658}" srcOrd="2" destOrd="0" presId="urn:microsoft.com/office/officeart/2008/layout/LinedList"/>
    <dgm:cxn modelId="{3E06594F-F358-4330-9CD5-402F2D1E0110}" type="presParOf" srcId="{44CDD901-AA51-4D0B-95D7-1C0083FEF3ED}" destId="{944B96C3-8B10-4510-B54A-63734023139E}" srcOrd="2" destOrd="0" presId="urn:microsoft.com/office/officeart/2008/layout/LinedList"/>
    <dgm:cxn modelId="{E2C8EF17-C66F-4E73-AC37-4B2048D607DF}" type="presParOf" srcId="{44CDD901-AA51-4D0B-95D7-1C0083FEF3ED}" destId="{9B92EC99-ECF5-4CFD-AFBE-03B0F6BDBF18}" srcOrd="3" destOrd="0" presId="urn:microsoft.com/office/officeart/2008/layout/LinedList"/>
    <dgm:cxn modelId="{C4A43C5F-6BBF-4586-810F-7F8BED865546}" type="presParOf" srcId="{44CDD901-AA51-4D0B-95D7-1C0083FEF3ED}" destId="{CA7F41A0-7AA8-486E-AE65-82C47217DBF3}" srcOrd="4" destOrd="0" presId="urn:microsoft.com/office/officeart/2008/layout/LinedList"/>
    <dgm:cxn modelId="{350D56BC-4E5A-4625-8430-C086379B8AC3}" type="presParOf" srcId="{CA7F41A0-7AA8-486E-AE65-82C47217DBF3}" destId="{92B183C3-03C3-4BBE-B80C-D40B9EC9CE05}" srcOrd="0" destOrd="0" presId="urn:microsoft.com/office/officeart/2008/layout/LinedList"/>
    <dgm:cxn modelId="{39224482-B510-4D36-9434-8A6DB37C4CC7}" type="presParOf" srcId="{CA7F41A0-7AA8-486E-AE65-82C47217DBF3}" destId="{2E25DAB7-4931-4195-BE27-7692C0334E0C}" srcOrd="1" destOrd="0" presId="urn:microsoft.com/office/officeart/2008/layout/LinedList"/>
    <dgm:cxn modelId="{EE19A618-BD1A-494C-BD48-069DAC59F64B}" type="presParOf" srcId="{CA7F41A0-7AA8-486E-AE65-82C47217DBF3}" destId="{B76EA395-5142-40B0-A53B-1CDBBA658869}" srcOrd="2" destOrd="0" presId="urn:microsoft.com/office/officeart/2008/layout/LinedList"/>
    <dgm:cxn modelId="{D4D93483-0EFC-4AD1-A28E-DA747849B729}" type="presParOf" srcId="{44CDD901-AA51-4D0B-95D7-1C0083FEF3ED}" destId="{98E914D1-75D2-4493-B3E3-6A1FE8CBCF64}" srcOrd="5" destOrd="0" presId="urn:microsoft.com/office/officeart/2008/layout/LinedList"/>
    <dgm:cxn modelId="{849691FF-4BBC-4117-B09A-5D5F393A3130}" type="presParOf" srcId="{44CDD901-AA51-4D0B-95D7-1C0083FEF3ED}" destId="{90C811DE-6142-4B92-B905-290DA2F10080}" srcOrd="6" destOrd="0" presId="urn:microsoft.com/office/officeart/2008/layout/LinedList"/>
    <dgm:cxn modelId="{E445272B-9A02-4840-94BF-8222AC764D39}" type="presParOf" srcId="{44CDD901-AA51-4D0B-95D7-1C0083FEF3ED}" destId="{7DFBCEAB-56CC-4C4E-A9D7-52F52A5DCC56}" srcOrd="7" destOrd="0" presId="urn:microsoft.com/office/officeart/2008/layout/LinedList"/>
    <dgm:cxn modelId="{20D5ED50-A221-4B61-B2F3-E51779B739B6}" type="presParOf" srcId="{7DFBCEAB-56CC-4C4E-A9D7-52F52A5DCC56}" destId="{D8B7275C-FD09-4537-8617-487F2F8CDE9B}" srcOrd="0" destOrd="0" presId="urn:microsoft.com/office/officeart/2008/layout/LinedList"/>
    <dgm:cxn modelId="{F769DC44-8C08-44DA-AF22-E845F618BF8A}" type="presParOf" srcId="{7DFBCEAB-56CC-4C4E-A9D7-52F52A5DCC56}" destId="{C87A14F1-01A4-403F-B3FD-F5DDCC16719B}" srcOrd="1" destOrd="0" presId="urn:microsoft.com/office/officeart/2008/layout/LinedList"/>
    <dgm:cxn modelId="{12595843-1B0D-4D8F-ACB1-CF1D6AC3A718}" type="presParOf" srcId="{7DFBCEAB-56CC-4C4E-A9D7-52F52A5DCC56}" destId="{F5EFD25A-735E-474C-B988-A03AFD15C7B7}" srcOrd="2" destOrd="0" presId="urn:microsoft.com/office/officeart/2008/layout/LinedList"/>
    <dgm:cxn modelId="{15C9F3CB-66B7-465F-8BC9-D96280140DB2}" type="presParOf" srcId="{44CDD901-AA51-4D0B-95D7-1C0083FEF3ED}" destId="{3C909510-8AEB-4256-8A1B-D7DFF79127E8}" srcOrd="8" destOrd="0" presId="urn:microsoft.com/office/officeart/2008/layout/LinedList"/>
    <dgm:cxn modelId="{B4087B1D-53C3-47FB-A1D9-A12E7B69A142}" type="presParOf" srcId="{44CDD901-AA51-4D0B-95D7-1C0083FEF3ED}" destId="{8683574C-4C05-455D-B647-0C5B9F6C87C5}" srcOrd="9" destOrd="0" presId="urn:microsoft.com/office/officeart/2008/layout/LinedList"/>
    <dgm:cxn modelId="{083A5951-A51B-45AC-B534-62461A1F2445}" type="presParOf" srcId="{DBB7E914-F553-4231-B133-35D190D73016}" destId="{7FFB16CC-68B9-4F45-A9BB-BC726E0DB8E7}" srcOrd="2" destOrd="0" presId="urn:microsoft.com/office/officeart/2008/layout/LinedList"/>
    <dgm:cxn modelId="{9AFBABFB-27B8-40D7-8CC0-F0DB0DFD61EA}" type="presParOf" srcId="{DBB7E914-F553-4231-B133-35D190D73016}" destId="{2BC37BB5-B901-47DB-B6E0-2309FEDEB2BA}" srcOrd="3" destOrd="0" presId="urn:microsoft.com/office/officeart/2008/layout/LinedList"/>
    <dgm:cxn modelId="{8D9EDA1F-7337-47CD-BA48-773CBE1DDD62}" type="presParOf" srcId="{2BC37BB5-B901-47DB-B6E0-2309FEDEB2BA}" destId="{4C097D11-35B3-4E9C-B2BD-1205ABEEE9B1}" srcOrd="0" destOrd="0" presId="urn:microsoft.com/office/officeart/2008/layout/LinedList"/>
    <dgm:cxn modelId="{30200ECC-0B80-43E5-BE6E-C28EB4A19232}" type="presParOf" srcId="{2BC37BB5-B901-47DB-B6E0-2309FEDEB2BA}" destId="{31532BEB-98C6-4E6D-9E85-A37C5C59C621}" srcOrd="1" destOrd="0" presId="urn:microsoft.com/office/officeart/2008/layout/LinedList"/>
    <dgm:cxn modelId="{0F46B451-B494-4B45-A7C7-21F3660A1AA7}" type="presParOf" srcId="{31532BEB-98C6-4E6D-9E85-A37C5C59C621}" destId="{51E8A465-36EF-4A7B-B194-806BA83728D2}" srcOrd="0" destOrd="0" presId="urn:microsoft.com/office/officeart/2008/layout/LinedList"/>
    <dgm:cxn modelId="{BDA20139-4F9D-4C8D-A30D-55609C04F9E1}" type="presParOf" srcId="{31532BEB-98C6-4E6D-9E85-A37C5C59C621}" destId="{8033AC04-C3EC-4F4E-A933-A6EEA6DB0FBC}" srcOrd="1" destOrd="0" presId="urn:microsoft.com/office/officeart/2008/layout/LinedList"/>
    <dgm:cxn modelId="{6303C082-AEE3-4592-B171-B2F6DF2C3EFF}" type="presParOf" srcId="{8033AC04-C3EC-4F4E-A933-A6EEA6DB0FBC}" destId="{6BDE1EBA-A3FD-4FB4-BAB4-C44D230EB524}" srcOrd="0" destOrd="0" presId="urn:microsoft.com/office/officeart/2008/layout/LinedList"/>
    <dgm:cxn modelId="{DB7DBFDB-8178-4327-A95E-D30648A3854C}" type="presParOf" srcId="{8033AC04-C3EC-4F4E-A933-A6EEA6DB0FBC}" destId="{25EAFB26-8EB8-4DB6-9D26-BB862F598463}" srcOrd="1" destOrd="0" presId="urn:microsoft.com/office/officeart/2008/layout/LinedList"/>
    <dgm:cxn modelId="{57E4EDC9-A111-4F42-8A61-88BA3D4E1673}" type="presParOf" srcId="{8033AC04-C3EC-4F4E-A933-A6EEA6DB0FBC}" destId="{C085A781-64A3-44CF-94FD-7F20E3CB46FE}" srcOrd="2" destOrd="0" presId="urn:microsoft.com/office/officeart/2008/layout/LinedList"/>
    <dgm:cxn modelId="{9EB3317F-A6B8-4732-A974-D7306F6107EE}" type="presParOf" srcId="{31532BEB-98C6-4E6D-9E85-A37C5C59C621}" destId="{51E4F694-5AE5-468F-85E7-CA16BCCD6604}" srcOrd="2" destOrd="0" presId="urn:microsoft.com/office/officeart/2008/layout/LinedList"/>
    <dgm:cxn modelId="{92640EAF-0B5A-4469-91FB-6BA0CABE6F1C}" type="presParOf" srcId="{31532BEB-98C6-4E6D-9E85-A37C5C59C621}" destId="{6112644E-0818-4F43-B89B-ADECA2774BCD}" srcOrd="3" destOrd="0" presId="urn:microsoft.com/office/officeart/2008/layout/LinedList"/>
    <dgm:cxn modelId="{7DFB9029-7DB6-4DFB-9C48-CFC6ED3FB0CC}" type="presParOf" srcId="{31532BEB-98C6-4E6D-9E85-A37C5C59C621}" destId="{E48D20AC-485F-4BBD-ABDE-5C623898CD4E}" srcOrd="4" destOrd="0" presId="urn:microsoft.com/office/officeart/2008/layout/LinedList"/>
    <dgm:cxn modelId="{6C65C290-5315-4620-8028-563AE841F793}" type="presParOf" srcId="{E48D20AC-485F-4BBD-ABDE-5C623898CD4E}" destId="{AB003A7A-B9C7-43BD-B93F-A7BF8BE0DBCA}" srcOrd="0" destOrd="0" presId="urn:microsoft.com/office/officeart/2008/layout/LinedList"/>
    <dgm:cxn modelId="{759607D9-FFAE-4C33-9CA3-7B4A85D93BDE}" type="presParOf" srcId="{E48D20AC-485F-4BBD-ABDE-5C623898CD4E}" destId="{14CB11AB-761F-4EEE-B55B-707C0E863DCA}" srcOrd="1" destOrd="0" presId="urn:microsoft.com/office/officeart/2008/layout/LinedList"/>
    <dgm:cxn modelId="{12DF722B-614A-4B19-98F7-A98C1D613B6D}" type="presParOf" srcId="{E48D20AC-485F-4BBD-ABDE-5C623898CD4E}" destId="{031669AE-D835-40AB-A4A9-BA0157875DDE}" srcOrd="2" destOrd="0" presId="urn:microsoft.com/office/officeart/2008/layout/LinedList"/>
    <dgm:cxn modelId="{897CF615-654A-4FC9-9B96-FD75F9E5D4F2}" type="presParOf" srcId="{31532BEB-98C6-4E6D-9E85-A37C5C59C621}" destId="{0BBE5728-23A7-4042-A3C1-521CDD0A17AF}" srcOrd="5" destOrd="0" presId="urn:microsoft.com/office/officeart/2008/layout/LinedList"/>
    <dgm:cxn modelId="{AA45BFC6-21E0-4AB5-AB5F-9ADBD84C9E5E}" type="presParOf" srcId="{31532BEB-98C6-4E6D-9E85-A37C5C59C621}" destId="{CF56EFA6-71B7-4A0C-8F6A-C8AB316417B6}" srcOrd="6" destOrd="0" presId="urn:microsoft.com/office/officeart/2008/layout/LinedList"/>
    <dgm:cxn modelId="{6692F4B4-771B-44B0-A00D-FBDB9FA8FBF5}" type="presParOf" srcId="{31532BEB-98C6-4E6D-9E85-A37C5C59C621}" destId="{62C8A333-6117-4B72-9EA6-17CADF8098B9}" srcOrd="7" destOrd="0" presId="urn:microsoft.com/office/officeart/2008/layout/LinedList"/>
    <dgm:cxn modelId="{2AAF0F9B-082C-4CC5-848C-C4479E399E1A}" type="presParOf" srcId="{62C8A333-6117-4B72-9EA6-17CADF8098B9}" destId="{7CBC7C48-95F0-4253-A033-A08415B9B88C}" srcOrd="0" destOrd="0" presId="urn:microsoft.com/office/officeart/2008/layout/LinedList"/>
    <dgm:cxn modelId="{14F8FFAE-80D8-4E21-8D28-F998C8A6513A}" type="presParOf" srcId="{62C8A333-6117-4B72-9EA6-17CADF8098B9}" destId="{6E7084F6-DC99-4675-9ADF-7027C8EFAEDD}" srcOrd="1" destOrd="0" presId="urn:microsoft.com/office/officeart/2008/layout/LinedList"/>
    <dgm:cxn modelId="{26BEB6C8-4E27-4345-9DCC-4C107A6FFF65}" type="presParOf" srcId="{62C8A333-6117-4B72-9EA6-17CADF8098B9}" destId="{E32FC4AF-7098-4174-B9FD-41C8122B4DC2}" srcOrd="2" destOrd="0" presId="urn:microsoft.com/office/officeart/2008/layout/LinedList"/>
    <dgm:cxn modelId="{0B534892-2593-49F6-B8A6-9466E96262AE}" type="presParOf" srcId="{31532BEB-98C6-4E6D-9E85-A37C5C59C621}" destId="{77C08CB1-4533-4778-BD62-CEDCF5984EAB}" srcOrd="8" destOrd="0" presId="urn:microsoft.com/office/officeart/2008/layout/LinedList"/>
    <dgm:cxn modelId="{2159328B-63F8-4D55-979B-A6B98C71A962}" type="presParOf" srcId="{31532BEB-98C6-4E6D-9E85-A37C5C59C621}" destId="{E84BA66E-29C2-4448-B411-129D4F9E6899}" srcOrd="9" destOrd="0" presId="urn:microsoft.com/office/officeart/2008/layout/LinedList"/>
    <dgm:cxn modelId="{4F78459E-3191-420B-A5E4-87507938E399}" type="presParOf" srcId="{DBB7E914-F553-4231-B133-35D190D73016}" destId="{7F5F643E-81F6-4A62-87EA-06BF0B517603}" srcOrd="4" destOrd="0" presId="urn:microsoft.com/office/officeart/2008/layout/LinedList"/>
    <dgm:cxn modelId="{4B469084-FCB0-402F-86DB-B360D1F8C4CC}" type="presParOf" srcId="{DBB7E914-F553-4231-B133-35D190D73016}" destId="{6B5E4747-2B7E-4C11-9BE7-B84956CD8D62}" srcOrd="5" destOrd="0" presId="urn:microsoft.com/office/officeart/2008/layout/LinedList"/>
    <dgm:cxn modelId="{85CFA60E-5AAD-4E9E-A5CB-73FB4D960195}" type="presParOf" srcId="{6B5E4747-2B7E-4C11-9BE7-B84956CD8D62}" destId="{70881656-B027-460E-B467-CD2B66E321B8}" srcOrd="0" destOrd="0" presId="urn:microsoft.com/office/officeart/2008/layout/LinedList"/>
    <dgm:cxn modelId="{2FB7EE3C-2274-44DC-822F-46304F9674AB}" type="presParOf" srcId="{6B5E4747-2B7E-4C11-9BE7-B84956CD8D62}" destId="{FDA014C3-DA4F-42BF-884F-1750C24FC0FF}" srcOrd="1" destOrd="0" presId="urn:microsoft.com/office/officeart/2008/layout/LinedList"/>
    <dgm:cxn modelId="{57339677-5A16-4698-97E0-96B98B793DC7}" type="presParOf" srcId="{FDA014C3-DA4F-42BF-884F-1750C24FC0FF}" destId="{BF37BA01-0311-41C8-8430-CAB6BD87D04F}" srcOrd="0" destOrd="0" presId="urn:microsoft.com/office/officeart/2008/layout/LinedList"/>
    <dgm:cxn modelId="{FB02EDD9-6C59-4CD6-8B3A-9C03CA26BD99}" type="presParOf" srcId="{FDA014C3-DA4F-42BF-884F-1750C24FC0FF}" destId="{6B43F7FF-9530-496D-9769-E12F64D4D24B}" srcOrd="1" destOrd="0" presId="urn:microsoft.com/office/officeart/2008/layout/LinedList"/>
    <dgm:cxn modelId="{633F5726-32BF-4BB3-BC5B-54DBC3F6F24E}" type="presParOf" srcId="{6B43F7FF-9530-496D-9769-E12F64D4D24B}" destId="{2EEF801A-BAF8-4371-879B-C930C0527184}" srcOrd="0" destOrd="0" presId="urn:microsoft.com/office/officeart/2008/layout/LinedList"/>
    <dgm:cxn modelId="{89BEFB1C-A17B-4153-84F7-A43D840C45BE}" type="presParOf" srcId="{6B43F7FF-9530-496D-9769-E12F64D4D24B}" destId="{0B8E6471-7D7E-4C93-B640-8AF1D38D8D08}" srcOrd="1" destOrd="0" presId="urn:microsoft.com/office/officeart/2008/layout/LinedList"/>
    <dgm:cxn modelId="{DAC787A5-BC84-4A38-ABF0-E2445292CF0C}" type="presParOf" srcId="{6B43F7FF-9530-496D-9769-E12F64D4D24B}" destId="{3305874E-5AD1-43F2-BCFF-411711A66290}" srcOrd="2" destOrd="0" presId="urn:microsoft.com/office/officeart/2008/layout/LinedList"/>
    <dgm:cxn modelId="{6B5FB917-95D1-4F59-A2BB-4DF3EE03D61C}" type="presParOf" srcId="{FDA014C3-DA4F-42BF-884F-1750C24FC0FF}" destId="{DF2A03A3-2D8D-470C-AA3B-BF44658D84CE}" srcOrd="2" destOrd="0" presId="urn:microsoft.com/office/officeart/2008/layout/LinedList"/>
    <dgm:cxn modelId="{967DA8AF-51DF-4CBF-AEA5-FCE98655B4F8}" type="presParOf" srcId="{FDA014C3-DA4F-42BF-884F-1750C24FC0FF}" destId="{04650E35-2D24-4F10-9C03-6285A1BF66AA}" srcOrd="3" destOrd="0" presId="urn:microsoft.com/office/officeart/2008/layout/LinedList"/>
    <dgm:cxn modelId="{1FEF75CD-F1F7-46F4-82D9-664440CD32BB}" type="presParOf" srcId="{FDA014C3-DA4F-42BF-884F-1750C24FC0FF}" destId="{AA67EEDD-FF7A-40AA-816B-7B0083A0C210}" srcOrd="4" destOrd="0" presId="urn:microsoft.com/office/officeart/2008/layout/LinedList"/>
    <dgm:cxn modelId="{4ABEFA86-6C05-4B1A-97E1-C650D7A3CA35}" type="presParOf" srcId="{AA67EEDD-FF7A-40AA-816B-7B0083A0C210}" destId="{2971533F-22C9-44FB-95E9-2D6BB62DFEDF}" srcOrd="0" destOrd="0" presId="urn:microsoft.com/office/officeart/2008/layout/LinedList"/>
    <dgm:cxn modelId="{82E4B894-6DFC-420D-99D8-B49955B3F430}" type="presParOf" srcId="{AA67EEDD-FF7A-40AA-816B-7B0083A0C210}" destId="{6D8A0ABF-5852-4490-97E8-CED07070552F}" srcOrd="1" destOrd="0" presId="urn:microsoft.com/office/officeart/2008/layout/LinedList"/>
    <dgm:cxn modelId="{47AA2368-D4A3-4FBC-9354-9E56112ACFF3}" type="presParOf" srcId="{AA67EEDD-FF7A-40AA-816B-7B0083A0C210}" destId="{C43AB8A1-A470-443C-AC0E-35675C8A57D7}" srcOrd="2" destOrd="0" presId="urn:microsoft.com/office/officeart/2008/layout/LinedList"/>
    <dgm:cxn modelId="{A1A9B5C8-F2CE-4B35-8133-0F94610B6C75}" type="presParOf" srcId="{FDA014C3-DA4F-42BF-884F-1750C24FC0FF}" destId="{2FD803F9-7840-4E37-8C4E-0F26C7598EF5}" srcOrd="5" destOrd="0" presId="urn:microsoft.com/office/officeart/2008/layout/LinedList"/>
    <dgm:cxn modelId="{F287D5A3-4AC9-4EE9-8655-184099567D03}" type="presParOf" srcId="{FDA014C3-DA4F-42BF-884F-1750C24FC0FF}" destId="{A70F1A3A-6013-47F0-80E3-1E60A4F6B24D}" srcOrd="6" destOrd="0" presId="urn:microsoft.com/office/officeart/2008/layout/LinedList"/>
    <dgm:cxn modelId="{17F7DF23-975D-47E8-85C9-889443E0A1D7}" type="presParOf" srcId="{FDA014C3-DA4F-42BF-884F-1750C24FC0FF}" destId="{AF89DD85-AEE8-4D3B-9A55-F0CB82E88BE5}" srcOrd="7" destOrd="0" presId="urn:microsoft.com/office/officeart/2008/layout/LinedList"/>
    <dgm:cxn modelId="{640AA564-68BD-4802-A56D-970B51B14A8B}" type="presParOf" srcId="{AF89DD85-AEE8-4D3B-9A55-F0CB82E88BE5}" destId="{DB80DEA8-FBD3-422D-916E-6D5C81B5D7BA}" srcOrd="0" destOrd="0" presId="urn:microsoft.com/office/officeart/2008/layout/LinedList"/>
    <dgm:cxn modelId="{2D1C2D0A-CC3E-4F49-B926-B769844AFBAA}" type="presParOf" srcId="{AF89DD85-AEE8-4D3B-9A55-F0CB82E88BE5}" destId="{D2B2EA61-775C-494C-AB7E-EF654122A790}" srcOrd="1" destOrd="0" presId="urn:microsoft.com/office/officeart/2008/layout/LinedList"/>
    <dgm:cxn modelId="{ABB37A92-6788-4610-AF31-70E1B7A89816}" type="presParOf" srcId="{AF89DD85-AEE8-4D3B-9A55-F0CB82E88BE5}" destId="{483BB510-5BD5-4AE1-8341-63C463C1F896}" srcOrd="2" destOrd="0" presId="urn:microsoft.com/office/officeart/2008/layout/LinedList"/>
    <dgm:cxn modelId="{62C790BD-CC4F-497D-BE48-630D3B26A22B}" type="presParOf" srcId="{FDA014C3-DA4F-42BF-884F-1750C24FC0FF}" destId="{8B3C9E3B-BBFA-4CCC-AB6C-14050E0CA1DD}" srcOrd="8" destOrd="0" presId="urn:microsoft.com/office/officeart/2008/layout/LinedList"/>
    <dgm:cxn modelId="{459F268C-3D61-4486-B940-AFA76D2FDA06}" type="presParOf" srcId="{FDA014C3-DA4F-42BF-884F-1750C24FC0FF}" destId="{6C06D01F-4C1A-42AC-AA9C-D0EF8A8DECEC}" srcOrd="9" destOrd="0" presId="urn:microsoft.com/office/officeart/2008/layout/LinedList"/>
    <dgm:cxn modelId="{720F323E-D42C-4749-A2F2-E4F1861DDC58}" type="presParOf" srcId="{DBB7E914-F553-4231-B133-35D190D73016}" destId="{A4AFCDA7-A307-4FDB-AD08-74E15F881E20}" srcOrd="6" destOrd="0" presId="urn:microsoft.com/office/officeart/2008/layout/LinedList"/>
    <dgm:cxn modelId="{CB103418-831F-483B-946B-93AEA505FA25}" type="presParOf" srcId="{DBB7E914-F553-4231-B133-35D190D73016}" destId="{3C8445DD-B840-4F38-B4D5-1A5AB91B9130}" srcOrd="7" destOrd="0" presId="urn:microsoft.com/office/officeart/2008/layout/LinedList"/>
    <dgm:cxn modelId="{8343CE50-AE6E-40AE-A736-EE4D1972654D}" type="presParOf" srcId="{3C8445DD-B840-4F38-B4D5-1A5AB91B9130}" destId="{E996D052-38D0-48BF-A8DA-CD746879277B}" srcOrd="0" destOrd="0" presId="urn:microsoft.com/office/officeart/2008/layout/LinedList"/>
    <dgm:cxn modelId="{B6726C01-D563-45FC-8559-87BF3D02FD09}" type="presParOf" srcId="{3C8445DD-B840-4F38-B4D5-1A5AB91B9130}" destId="{7DBD2E6B-CAFD-4ED6-A611-B9AB5B18336B}" srcOrd="1" destOrd="0" presId="urn:microsoft.com/office/officeart/2008/layout/LinedList"/>
    <dgm:cxn modelId="{F7B19CFC-CDFD-4AC8-95C9-B5893F2CC35B}" type="presParOf" srcId="{7DBD2E6B-CAFD-4ED6-A611-B9AB5B18336B}" destId="{6D0B5E13-D7D2-42E6-82DB-D4B33D6882F5}" srcOrd="0" destOrd="0" presId="urn:microsoft.com/office/officeart/2008/layout/LinedList"/>
    <dgm:cxn modelId="{7DD4013E-B723-4E9A-B33B-7B2198B8F14D}" type="presParOf" srcId="{7DBD2E6B-CAFD-4ED6-A611-B9AB5B18336B}" destId="{C76A7133-D305-4C3C-82E0-07D6E25CBE7D}" srcOrd="1" destOrd="0" presId="urn:microsoft.com/office/officeart/2008/layout/LinedList"/>
    <dgm:cxn modelId="{65D77C3A-833B-45E4-B997-8C42979467BA}" type="presParOf" srcId="{C76A7133-D305-4C3C-82E0-07D6E25CBE7D}" destId="{BEEFEAFA-8D2D-43AE-AAD5-0A1FD7C1531F}" srcOrd="0" destOrd="0" presId="urn:microsoft.com/office/officeart/2008/layout/LinedList"/>
    <dgm:cxn modelId="{0E02A214-1DA9-442B-A0B4-393163954809}" type="presParOf" srcId="{C76A7133-D305-4C3C-82E0-07D6E25CBE7D}" destId="{8CD49625-759E-4D8C-8DDE-EDF2EC375814}" srcOrd="1" destOrd="0" presId="urn:microsoft.com/office/officeart/2008/layout/LinedList"/>
    <dgm:cxn modelId="{F92BC52E-82C0-47E0-B153-1ED423449D5C}" type="presParOf" srcId="{C76A7133-D305-4C3C-82E0-07D6E25CBE7D}" destId="{0FB8EAE4-4B01-42B4-B4BB-CCF4F88055F7}" srcOrd="2" destOrd="0" presId="urn:microsoft.com/office/officeart/2008/layout/LinedList"/>
    <dgm:cxn modelId="{FDE3460D-3B81-4A2E-B29A-033C6DF8243E}" type="presParOf" srcId="{7DBD2E6B-CAFD-4ED6-A611-B9AB5B18336B}" destId="{C6A8E45E-043D-42BA-8AFE-D97D463D57B7}" srcOrd="2" destOrd="0" presId="urn:microsoft.com/office/officeart/2008/layout/LinedList"/>
    <dgm:cxn modelId="{178C5D39-79EA-4E7C-A983-6F5484A5837F}" type="presParOf" srcId="{7DBD2E6B-CAFD-4ED6-A611-B9AB5B18336B}" destId="{85368169-E7B6-4D88-BC42-564C139596A9}" srcOrd="3" destOrd="0" presId="urn:microsoft.com/office/officeart/2008/layout/LinedList"/>
    <dgm:cxn modelId="{3B976EF5-28D1-4ED4-9C4E-733F2A3EDFE8}" type="presParOf" srcId="{7DBD2E6B-CAFD-4ED6-A611-B9AB5B18336B}" destId="{C244544B-5EED-49F6-BFD7-0EFED12F2403}" srcOrd="4" destOrd="0" presId="urn:microsoft.com/office/officeart/2008/layout/LinedList"/>
    <dgm:cxn modelId="{72F097FC-86F8-428C-AA1A-3CB1BF25F21B}" type="presParOf" srcId="{C244544B-5EED-49F6-BFD7-0EFED12F2403}" destId="{0E953956-E60A-4521-8422-EA11D9F1F397}" srcOrd="0" destOrd="0" presId="urn:microsoft.com/office/officeart/2008/layout/LinedList"/>
    <dgm:cxn modelId="{756C10C6-1AE1-4978-8576-44375992E81C}" type="presParOf" srcId="{C244544B-5EED-49F6-BFD7-0EFED12F2403}" destId="{8DC842D7-065E-47EE-B32A-6C0545C0FB35}" srcOrd="1" destOrd="0" presId="urn:microsoft.com/office/officeart/2008/layout/LinedList"/>
    <dgm:cxn modelId="{08CCE51E-8EB5-4F49-8631-48F2D90D2D2E}" type="presParOf" srcId="{C244544B-5EED-49F6-BFD7-0EFED12F2403}" destId="{91B75E57-EAFD-40CD-BCCC-0F8C19CE8119}" srcOrd="2" destOrd="0" presId="urn:microsoft.com/office/officeart/2008/layout/LinedList"/>
    <dgm:cxn modelId="{13CF8DF9-E477-4C5D-8AD8-0E774147917C}" type="presParOf" srcId="{7DBD2E6B-CAFD-4ED6-A611-B9AB5B18336B}" destId="{DF3F66BF-17DD-45E2-A2A1-2AAF723FB623}" srcOrd="5" destOrd="0" presId="urn:microsoft.com/office/officeart/2008/layout/LinedList"/>
    <dgm:cxn modelId="{BC3B62E6-C2B0-4127-BD57-008EE86DD1F5}" type="presParOf" srcId="{7DBD2E6B-CAFD-4ED6-A611-B9AB5B18336B}" destId="{7A7C525F-72D5-4073-BB3F-6C4809263B1A}" srcOrd="6" destOrd="0" presId="urn:microsoft.com/office/officeart/2008/layout/LinedList"/>
    <dgm:cxn modelId="{727B23FB-A47A-4783-822F-31ADED3EA06C}" type="presParOf" srcId="{7DBD2E6B-CAFD-4ED6-A611-B9AB5B18336B}" destId="{F9FA0C2C-9F14-4DC2-ADA5-1E7EE4907B1D}" srcOrd="7" destOrd="0" presId="urn:microsoft.com/office/officeart/2008/layout/LinedList"/>
    <dgm:cxn modelId="{65BE66B9-0CBB-4DE7-98AA-0F8EB3BC61B8}" type="presParOf" srcId="{F9FA0C2C-9F14-4DC2-ADA5-1E7EE4907B1D}" destId="{1C4CC0AD-07EF-4B96-886A-E61348B9C9DA}" srcOrd="0" destOrd="0" presId="urn:microsoft.com/office/officeart/2008/layout/LinedList"/>
    <dgm:cxn modelId="{3625B64B-3A30-481F-A671-B8CC253F4C86}" type="presParOf" srcId="{F9FA0C2C-9F14-4DC2-ADA5-1E7EE4907B1D}" destId="{6011A97B-A169-492D-A7F4-1DBEA187EBD7}" srcOrd="1" destOrd="0" presId="urn:microsoft.com/office/officeart/2008/layout/LinedList"/>
    <dgm:cxn modelId="{D21F92C1-CA52-4C3C-91DD-C79E393CBD7D}" type="presParOf" srcId="{F9FA0C2C-9F14-4DC2-ADA5-1E7EE4907B1D}" destId="{EECAF440-0C8B-46A2-9EF9-B66F182BCFFC}" srcOrd="2" destOrd="0" presId="urn:microsoft.com/office/officeart/2008/layout/LinedList"/>
    <dgm:cxn modelId="{A5938AE2-250B-4C73-B6A3-257A9513BE30}" type="presParOf" srcId="{7DBD2E6B-CAFD-4ED6-A611-B9AB5B18336B}" destId="{976C0F0A-1FAD-489A-99D8-316E7D906BD2}" srcOrd="8" destOrd="0" presId="urn:microsoft.com/office/officeart/2008/layout/LinedList"/>
    <dgm:cxn modelId="{53AC2561-4385-4102-B001-15D9311878C4}" type="presParOf" srcId="{7DBD2E6B-CAFD-4ED6-A611-B9AB5B18336B}" destId="{537D94B0-1D1F-4F95-BB51-28D11750524C}"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C36E6AB-EC00-4CEE-9E2C-9FE04A6686D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15B180F-5983-4E1D-B669-D471BFC55A1D}">
      <dgm:prSet custT="1"/>
      <dgm:spPr/>
      <dgm:t>
        <a:bodyPr/>
        <a:lstStyle/>
        <a:p>
          <a:r>
            <a:rPr lang="en-US" sz="2000" dirty="0"/>
            <a:t>Infant</a:t>
          </a:r>
        </a:p>
      </dgm:t>
    </dgm:pt>
    <dgm:pt modelId="{B6B8EF46-7187-451D-85CC-DECD9D7CD5E9}" type="parTrans" cxnId="{4D95BCF4-0A05-4DF3-857B-D27DB5DC14BA}">
      <dgm:prSet/>
      <dgm:spPr/>
      <dgm:t>
        <a:bodyPr/>
        <a:lstStyle/>
        <a:p>
          <a:endParaRPr lang="en-US"/>
        </a:p>
      </dgm:t>
    </dgm:pt>
    <dgm:pt modelId="{5F8C782B-6C65-4462-BF18-4EC0EE9BAF90}" type="sibTrans" cxnId="{4D95BCF4-0A05-4DF3-857B-D27DB5DC14BA}">
      <dgm:prSet/>
      <dgm:spPr/>
      <dgm:t>
        <a:bodyPr/>
        <a:lstStyle/>
        <a:p>
          <a:endParaRPr lang="en-US"/>
        </a:p>
      </dgm:t>
    </dgm:pt>
    <dgm:pt modelId="{27BB11F2-29F8-43F5-890B-FE917EEC786B}">
      <dgm:prSet/>
      <dgm:spPr/>
      <dgm:t>
        <a:bodyPr/>
        <a:lstStyle/>
        <a:p>
          <a:r>
            <a:rPr lang="en-US" dirty="0"/>
            <a:t>Poor weight gain</a:t>
          </a:r>
        </a:p>
      </dgm:t>
    </dgm:pt>
    <dgm:pt modelId="{26167544-8DFD-4F35-BE81-42C7EB8C96A7}" type="parTrans" cxnId="{3E5FCE15-ED64-43D4-BC17-C122563E1D25}">
      <dgm:prSet/>
      <dgm:spPr/>
      <dgm:t>
        <a:bodyPr/>
        <a:lstStyle/>
        <a:p>
          <a:endParaRPr lang="en-US"/>
        </a:p>
      </dgm:t>
    </dgm:pt>
    <dgm:pt modelId="{0C379613-9168-428C-9CE5-B47DBE2994D6}" type="sibTrans" cxnId="{3E5FCE15-ED64-43D4-BC17-C122563E1D25}">
      <dgm:prSet/>
      <dgm:spPr/>
      <dgm:t>
        <a:bodyPr/>
        <a:lstStyle/>
        <a:p>
          <a:endParaRPr lang="en-US"/>
        </a:p>
      </dgm:t>
    </dgm:pt>
    <dgm:pt modelId="{42275937-88FC-4305-B29B-9795E55AC625}">
      <dgm:prSet/>
      <dgm:spPr/>
      <dgm:t>
        <a:bodyPr/>
        <a:lstStyle/>
        <a:p>
          <a:r>
            <a:rPr lang="en-US" dirty="0"/>
            <a:t>Heart murmur</a:t>
          </a:r>
        </a:p>
      </dgm:t>
    </dgm:pt>
    <dgm:pt modelId="{8A1A2384-3CF8-4F3D-8337-A2945671F0DD}" type="parTrans" cxnId="{E66F0B5B-FCAD-4F50-B3F8-66328DEB7ED1}">
      <dgm:prSet/>
      <dgm:spPr/>
      <dgm:t>
        <a:bodyPr/>
        <a:lstStyle/>
        <a:p>
          <a:endParaRPr lang="en-US"/>
        </a:p>
      </dgm:t>
    </dgm:pt>
    <dgm:pt modelId="{A35DE5FF-410E-4A41-923A-B0EF486B4196}" type="sibTrans" cxnId="{E66F0B5B-FCAD-4F50-B3F8-66328DEB7ED1}">
      <dgm:prSet/>
      <dgm:spPr/>
      <dgm:t>
        <a:bodyPr/>
        <a:lstStyle/>
        <a:p>
          <a:endParaRPr lang="en-US"/>
        </a:p>
      </dgm:t>
    </dgm:pt>
    <dgm:pt modelId="{7D96841A-4833-470E-B14D-7FB340053FF8}">
      <dgm:prSet/>
      <dgm:spPr/>
      <dgm:t>
        <a:bodyPr/>
        <a:lstStyle/>
        <a:p>
          <a:r>
            <a:rPr lang="en-US" dirty="0"/>
            <a:t>Difficulty breathing</a:t>
          </a:r>
        </a:p>
      </dgm:t>
    </dgm:pt>
    <dgm:pt modelId="{365A4D81-80AA-4B79-A1B1-940CB8E69082}" type="parTrans" cxnId="{1AB2B7F1-955F-4CC4-A2C2-4E65FF229357}">
      <dgm:prSet/>
      <dgm:spPr/>
      <dgm:t>
        <a:bodyPr/>
        <a:lstStyle/>
        <a:p>
          <a:endParaRPr lang="en-US"/>
        </a:p>
      </dgm:t>
    </dgm:pt>
    <dgm:pt modelId="{E4FD6E59-7D90-41C2-B611-EA643A29A654}" type="sibTrans" cxnId="{1AB2B7F1-955F-4CC4-A2C2-4E65FF229357}">
      <dgm:prSet/>
      <dgm:spPr/>
      <dgm:t>
        <a:bodyPr/>
        <a:lstStyle/>
        <a:p>
          <a:endParaRPr lang="en-US"/>
        </a:p>
      </dgm:t>
    </dgm:pt>
    <dgm:pt modelId="{C80DF3EF-6753-4200-B077-4930F6E76D3E}">
      <dgm:prSet/>
      <dgm:spPr/>
      <dgm:t>
        <a:bodyPr/>
        <a:lstStyle/>
        <a:p>
          <a:r>
            <a:rPr lang="en-US" dirty="0"/>
            <a:t>Unsafe sleep situations</a:t>
          </a:r>
        </a:p>
      </dgm:t>
    </dgm:pt>
    <dgm:pt modelId="{A24ECAA5-6910-4BE2-8D59-0A34E8A2868D}" type="parTrans" cxnId="{5583D4C5-51A7-4145-B3EB-260FD53390F6}">
      <dgm:prSet/>
      <dgm:spPr/>
      <dgm:t>
        <a:bodyPr/>
        <a:lstStyle/>
        <a:p>
          <a:endParaRPr lang="en-US"/>
        </a:p>
      </dgm:t>
    </dgm:pt>
    <dgm:pt modelId="{8450A603-AB29-4345-A874-146FB6FF380F}" type="sibTrans" cxnId="{5583D4C5-51A7-4145-B3EB-260FD53390F6}">
      <dgm:prSet/>
      <dgm:spPr/>
      <dgm:t>
        <a:bodyPr/>
        <a:lstStyle/>
        <a:p>
          <a:endParaRPr lang="en-US"/>
        </a:p>
      </dgm:t>
    </dgm:pt>
    <dgm:pt modelId="{4F00F9A9-547E-4521-BACA-3AB8643EEBCD}">
      <dgm:prSet/>
      <dgm:spPr/>
      <dgm:t>
        <a:bodyPr/>
        <a:lstStyle/>
        <a:p>
          <a:r>
            <a:rPr lang="en-US" dirty="0"/>
            <a:t>In-home/virtual lactation support</a:t>
          </a:r>
        </a:p>
      </dgm:t>
    </dgm:pt>
    <dgm:pt modelId="{7344386C-96C3-4300-8A82-30494231CAFF}" type="parTrans" cxnId="{F757182E-8ABE-4977-95E4-8F6B5269081E}">
      <dgm:prSet/>
      <dgm:spPr/>
      <dgm:t>
        <a:bodyPr/>
        <a:lstStyle/>
        <a:p>
          <a:endParaRPr lang="en-US"/>
        </a:p>
      </dgm:t>
    </dgm:pt>
    <dgm:pt modelId="{6EF22CA2-D21A-4907-8B66-CFF943985F2C}" type="sibTrans" cxnId="{F757182E-8ABE-4977-95E4-8F6B5269081E}">
      <dgm:prSet/>
      <dgm:spPr/>
      <dgm:t>
        <a:bodyPr/>
        <a:lstStyle/>
        <a:p>
          <a:endParaRPr lang="en-US"/>
        </a:p>
      </dgm:t>
    </dgm:pt>
    <dgm:pt modelId="{DE908154-FE07-4DE4-A085-002E7AE0E686}">
      <dgm:prSet custT="1"/>
      <dgm:spPr/>
      <dgm:t>
        <a:bodyPr/>
        <a:lstStyle/>
        <a:p>
          <a:r>
            <a:rPr lang="en-US" sz="2000" dirty="0"/>
            <a:t>Maternal</a:t>
          </a:r>
        </a:p>
      </dgm:t>
    </dgm:pt>
    <dgm:pt modelId="{2F41B85B-3A31-43B7-BA3C-EE482D07BA59}" type="parTrans" cxnId="{9D24C5E1-4A76-4A3B-8C3E-26C16A971457}">
      <dgm:prSet/>
      <dgm:spPr/>
      <dgm:t>
        <a:bodyPr/>
        <a:lstStyle/>
        <a:p>
          <a:endParaRPr lang="en-US"/>
        </a:p>
      </dgm:t>
    </dgm:pt>
    <dgm:pt modelId="{CCDD4D5D-4CFF-41F3-A4CC-971F99076600}" type="sibTrans" cxnId="{9D24C5E1-4A76-4A3B-8C3E-26C16A971457}">
      <dgm:prSet/>
      <dgm:spPr/>
      <dgm:t>
        <a:bodyPr/>
        <a:lstStyle/>
        <a:p>
          <a:endParaRPr lang="en-US"/>
        </a:p>
      </dgm:t>
    </dgm:pt>
    <dgm:pt modelId="{60B7BE65-B52F-4FE4-AE0B-081917B0FB84}">
      <dgm:prSet/>
      <dgm:spPr/>
      <dgm:t>
        <a:bodyPr/>
        <a:lstStyle/>
        <a:p>
          <a:r>
            <a:rPr lang="en-US" dirty="0"/>
            <a:t>Blood pressure checks</a:t>
          </a:r>
        </a:p>
      </dgm:t>
    </dgm:pt>
    <dgm:pt modelId="{3689222E-297C-4EB4-B53F-589620389F0A}" type="parTrans" cxnId="{B1B4CD65-3769-4F11-B685-48F233E3A772}">
      <dgm:prSet/>
      <dgm:spPr/>
      <dgm:t>
        <a:bodyPr/>
        <a:lstStyle/>
        <a:p>
          <a:endParaRPr lang="en-US"/>
        </a:p>
      </dgm:t>
    </dgm:pt>
    <dgm:pt modelId="{FE23BD5C-290C-4FBA-8E9F-B1759E3C5EA8}" type="sibTrans" cxnId="{B1B4CD65-3769-4F11-B685-48F233E3A772}">
      <dgm:prSet/>
      <dgm:spPr/>
      <dgm:t>
        <a:bodyPr/>
        <a:lstStyle/>
        <a:p>
          <a:endParaRPr lang="en-US"/>
        </a:p>
      </dgm:t>
    </dgm:pt>
    <dgm:pt modelId="{01EF6EA1-AD13-4CE9-88DA-029BC9D16595}">
      <dgm:prSet/>
      <dgm:spPr/>
      <dgm:t>
        <a:bodyPr/>
        <a:lstStyle/>
        <a:p>
          <a:r>
            <a:rPr lang="en-US" dirty="0"/>
            <a:t>Education on symptoms of preeclampsia</a:t>
          </a:r>
        </a:p>
      </dgm:t>
    </dgm:pt>
    <dgm:pt modelId="{DCE1CC4B-22D8-4197-94A7-69701FFD5563}" type="parTrans" cxnId="{C925AA66-8A7E-4E4B-A1A2-16C16281915C}">
      <dgm:prSet/>
      <dgm:spPr/>
      <dgm:t>
        <a:bodyPr/>
        <a:lstStyle/>
        <a:p>
          <a:endParaRPr lang="en-US"/>
        </a:p>
      </dgm:t>
    </dgm:pt>
    <dgm:pt modelId="{DD644847-16B0-4739-81D2-350D472369D8}" type="sibTrans" cxnId="{C925AA66-8A7E-4E4B-A1A2-16C16281915C}">
      <dgm:prSet/>
      <dgm:spPr/>
      <dgm:t>
        <a:bodyPr/>
        <a:lstStyle/>
        <a:p>
          <a:endParaRPr lang="en-US"/>
        </a:p>
      </dgm:t>
    </dgm:pt>
    <dgm:pt modelId="{D0BE0484-6066-4506-BBD0-6A14E089E5B6}">
      <dgm:prSet/>
      <dgm:spPr/>
      <dgm:t>
        <a:bodyPr/>
        <a:lstStyle/>
        <a:p>
          <a:r>
            <a:rPr lang="en-US" dirty="0"/>
            <a:t>Domestic violence</a:t>
          </a:r>
        </a:p>
      </dgm:t>
    </dgm:pt>
    <dgm:pt modelId="{1A98589E-ECCB-4901-B4DC-001ED7939440}" type="parTrans" cxnId="{D40341CD-346D-4934-A592-E93D7BE80787}">
      <dgm:prSet/>
      <dgm:spPr/>
      <dgm:t>
        <a:bodyPr/>
        <a:lstStyle/>
        <a:p>
          <a:endParaRPr lang="en-US"/>
        </a:p>
      </dgm:t>
    </dgm:pt>
    <dgm:pt modelId="{9F3EDF48-6AEF-4BDE-9F98-0835505E5D08}" type="sibTrans" cxnId="{D40341CD-346D-4934-A592-E93D7BE80787}">
      <dgm:prSet/>
      <dgm:spPr/>
      <dgm:t>
        <a:bodyPr/>
        <a:lstStyle/>
        <a:p>
          <a:endParaRPr lang="en-US"/>
        </a:p>
      </dgm:t>
    </dgm:pt>
    <dgm:pt modelId="{4A8731CD-CAF9-4116-BAC9-E05185A851B7}">
      <dgm:prSet/>
      <dgm:spPr/>
      <dgm:t>
        <a:bodyPr/>
        <a:lstStyle/>
        <a:p>
          <a:r>
            <a:rPr lang="en-US" dirty="0"/>
            <a:t>Depression</a:t>
          </a:r>
        </a:p>
      </dgm:t>
    </dgm:pt>
    <dgm:pt modelId="{AA7F0AD9-B254-4EAA-8EDA-FC138448A0EA}" type="parTrans" cxnId="{2173B01C-EA64-474F-A49C-90870EB7513A}">
      <dgm:prSet/>
      <dgm:spPr/>
      <dgm:t>
        <a:bodyPr/>
        <a:lstStyle/>
        <a:p>
          <a:endParaRPr lang="en-US"/>
        </a:p>
      </dgm:t>
    </dgm:pt>
    <dgm:pt modelId="{8AEC4028-2B12-4330-B961-814BD7F2DA7C}" type="sibTrans" cxnId="{2173B01C-EA64-474F-A49C-90870EB7513A}">
      <dgm:prSet/>
      <dgm:spPr/>
      <dgm:t>
        <a:bodyPr/>
        <a:lstStyle/>
        <a:p>
          <a:endParaRPr lang="en-US"/>
        </a:p>
      </dgm:t>
    </dgm:pt>
    <dgm:pt modelId="{E05CA288-1E77-4304-B4A5-A40D8BDF98BA}">
      <dgm:prSet/>
      <dgm:spPr/>
      <dgm:t>
        <a:bodyPr/>
        <a:lstStyle/>
        <a:p>
          <a:r>
            <a:rPr lang="en-US" dirty="0"/>
            <a:t>Increase trust in the healthcare system</a:t>
          </a:r>
        </a:p>
      </dgm:t>
    </dgm:pt>
    <dgm:pt modelId="{606A2949-5284-4C92-893E-3281BE41E153}" type="parTrans" cxnId="{573BE5F6-6EBB-429A-8E4B-8A2878831901}">
      <dgm:prSet/>
      <dgm:spPr/>
      <dgm:t>
        <a:bodyPr/>
        <a:lstStyle/>
        <a:p>
          <a:endParaRPr lang="en-US"/>
        </a:p>
      </dgm:t>
    </dgm:pt>
    <dgm:pt modelId="{92FA2878-1DDC-421B-9D8E-E7ED958E9797}" type="sibTrans" cxnId="{573BE5F6-6EBB-429A-8E4B-8A2878831901}">
      <dgm:prSet/>
      <dgm:spPr/>
      <dgm:t>
        <a:bodyPr/>
        <a:lstStyle/>
        <a:p>
          <a:endParaRPr lang="en-US"/>
        </a:p>
      </dgm:t>
    </dgm:pt>
    <dgm:pt modelId="{6419400A-2702-4487-98D2-54DA3FD950E0}">
      <dgm:prSet/>
      <dgm:spPr/>
      <dgm:t>
        <a:bodyPr/>
        <a:lstStyle/>
        <a:p>
          <a:r>
            <a:rPr lang="en-US" dirty="0"/>
            <a:t>Incision checks</a:t>
          </a:r>
        </a:p>
      </dgm:t>
    </dgm:pt>
    <dgm:pt modelId="{6332DBA7-B4EC-49C6-B089-04180E1229DE}" type="parTrans" cxnId="{558E0382-2E84-48E9-9A4D-050A60FA2989}">
      <dgm:prSet/>
      <dgm:spPr/>
      <dgm:t>
        <a:bodyPr/>
        <a:lstStyle/>
        <a:p>
          <a:endParaRPr lang="en-US"/>
        </a:p>
      </dgm:t>
    </dgm:pt>
    <dgm:pt modelId="{FEC3B95A-431B-4183-B8AE-878BF22D2EDB}" type="sibTrans" cxnId="{558E0382-2E84-48E9-9A4D-050A60FA2989}">
      <dgm:prSet/>
      <dgm:spPr/>
      <dgm:t>
        <a:bodyPr/>
        <a:lstStyle/>
        <a:p>
          <a:endParaRPr lang="en-US"/>
        </a:p>
      </dgm:t>
    </dgm:pt>
    <dgm:pt modelId="{45806292-D32D-421E-9DBE-404893EE1BFD}" type="pres">
      <dgm:prSet presAssocID="{EC36E6AB-EC00-4CEE-9E2C-9FE04A6686D3}" presName="linear" presStyleCnt="0">
        <dgm:presLayoutVars>
          <dgm:dir/>
          <dgm:animLvl val="lvl"/>
          <dgm:resizeHandles val="exact"/>
        </dgm:presLayoutVars>
      </dgm:prSet>
      <dgm:spPr/>
    </dgm:pt>
    <dgm:pt modelId="{1A7645A2-ED40-4ADF-AE43-E98E90324CFA}" type="pres">
      <dgm:prSet presAssocID="{D15B180F-5983-4E1D-B669-D471BFC55A1D}" presName="parentLin" presStyleCnt="0"/>
      <dgm:spPr/>
    </dgm:pt>
    <dgm:pt modelId="{320F89AA-85CA-41EA-B5D4-2460DB77D39B}" type="pres">
      <dgm:prSet presAssocID="{D15B180F-5983-4E1D-B669-D471BFC55A1D}" presName="parentLeftMargin" presStyleLbl="node1" presStyleIdx="0" presStyleCnt="2"/>
      <dgm:spPr/>
    </dgm:pt>
    <dgm:pt modelId="{CADA0271-D23C-41BD-9A45-FDCA7B1EA276}" type="pres">
      <dgm:prSet presAssocID="{D15B180F-5983-4E1D-B669-D471BFC55A1D}" presName="parentText" presStyleLbl="node1" presStyleIdx="0" presStyleCnt="2">
        <dgm:presLayoutVars>
          <dgm:chMax val="0"/>
          <dgm:bulletEnabled val="1"/>
        </dgm:presLayoutVars>
      </dgm:prSet>
      <dgm:spPr/>
    </dgm:pt>
    <dgm:pt modelId="{98E7F9D2-6E05-4E62-80B9-1424493F7911}" type="pres">
      <dgm:prSet presAssocID="{D15B180F-5983-4E1D-B669-D471BFC55A1D}" presName="negativeSpace" presStyleCnt="0"/>
      <dgm:spPr/>
    </dgm:pt>
    <dgm:pt modelId="{0E8B6779-8123-467E-AEE3-0CBFE1E9C473}" type="pres">
      <dgm:prSet presAssocID="{D15B180F-5983-4E1D-B669-D471BFC55A1D}" presName="childText" presStyleLbl="conFgAcc1" presStyleIdx="0" presStyleCnt="2">
        <dgm:presLayoutVars>
          <dgm:bulletEnabled val="1"/>
        </dgm:presLayoutVars>
      </dgm:prSet>
      <dgm:spPr/>
    </dgm:pt>
    <dgm:pt modelId="{FEFA1470-DA55-41F2-BE81-D80D7ACD7CF3}" type="pres">
      <dgm:prSet presAssocID="{5F8C782B-6C65-4462-BF18-4EC0EE9BAF90}" presName="spaceBetweenRectangles" presStyleCnt="0"/>
      <dgm:spPr/>
    </dgm:pt>
    <dgm:pt modelId="{272B3A05-46B5-4107-9F2B-EE0D69DB8389}" type="pres">
      <dgm:prSet presAssocID="{DE908154-FE07-4DE4-A085-002E7AE0E686}" presName="parentLin" presStyleCnt="0"/>
      <dgm:spPr/>
    </dgm:pt>
    <dgm:pt modelId="{8BBD026B-5826-492B-B6AE-537FE8942E93}" type="pres">
      <dgm:prSet presAssocID="{DE908154-FE07-4DE4-A085-002E7AE0E686}" presName="parentLeftMargin" presStyleLbl="node1" presStyleIdx="0" presStyleCnt="2"/>
      <dgm:spPr/>
    </dgm:pt>
    <dgm:pt modelId="{B2510341-BE7A-4C21-BDEA-9CF061EB9739}" type="pres">
      <dgm:prSet presAssocID="{DE908154-FE07-4DE4-A085-002E7AE0E686}" presName="parentText" presStyleLbl="node1" presStyleIdx="1" presStyleCnt="2">
        <dgm:presLayoutVars>
          <dgm:chMax val="0"/>
          <dgm:bulletEnabled val="1"/>
        </dgm:presLayoutVars>
      </dgm:prSet>
      <dgm:spPr/>
    </dgm:pt>
    <dgm:pt modelId="{211D84F4-2155-4290-954D-FE8BC350B1B0}" type="pres">
      <dgm:prSet presAssocID="{DE908154-FE07-4DE4-A085-002E7AE0E686}" presName="negativeSpace" presStyleCnt="0"/>
      <dgm:spPr/>
    </dgm:pt>
    <dgm:pt modelId="{FA396825-08F5-4D1A-A15A-6C3EA022D6C2}" type="pres">
      <dgm:prSet presAssocID="{DE908154-FE07-4DE4-A085-002E7AE0E686}" presName="childText" presStyleLbl="conFgAcc1" presStyleIdx="1" presStyleCnt="2">
        <dgm:presLayoutVars>
          <dgm:bulletEnabled val="1"/>
        </dgm:presLayoutVars>
      </dgm:prSet>
      <dgm:spPr/>
    </dgm:pt>
  </dgm:ptLst>
  <dgm:cxnLst>
    <dgm:cxn modelId="{0968F406-841B-4A7E-B5D8-A6C919FB1F36}" type="presOf" srcId="{E05CA288-1E77-4304-B4A5-A40D8BDF98BA}" destId="{FA396825-08F5-4D1A-A15A-6C3EA022D6C2}" srcOrd="0" destOrd="5" presId="urn:microsoft.com/office/officeart/2005/8/layout/list1"/>
    <dgm:cxn modelId="{3E5FCE15-ED64-43D4-BC17-C122563E1D25}" srcId="{D15B180F-5983-4E1D-B669-D471BFC55A1D}" destId="{27BB11F2-29F8-43F5-890B-FE917EEC786B}" srcOrd="0" destOrd="0" parTransId="{26167544-8DFD-4F35-BE81-42C7EB8C96A7}" sibTransId="{0C379613-9168-428C-9CE5-B47DBE2994D6}"/>
    <dgm:cxn modelId="{A130E716-7E55-4245-88B8-05B6FDCB0433}" type="presOf" srcId="{DE908154-FE07-4DE4-A085-002E7AE0E686}" destId="{8BBD026B-5826-492B-B6AE-537FE8942E93}" srcOrd="0" destOrd="0" presId="urn:microsoft.com/office/officeart/2005/8/layout/list1"/>
    <dgm:cxn modelId="{2173B01C-EA64-474F-A49C-90870EB7513A}" srcId="{DE908154-FE07-4DE4-A085-002E7AE0E686}" destId="{4A8731CD-CAF9-4116-BAC9-E05185A851B7}" srcOrd="3" destOrd="0" parTransId="{AA7F0AD9-B254-4EAA-8EDA-FC138448A0EA}" sibTransId="{8AEC4028-2B12-4330-B961-814BD7F2DA7C}"/>
    <dgm:cxn modelId="{76C7001F-CF41-4798-9054-A48BC1ECACF1}" type="presOf" srcId="{D15B180F-5983-4E1D-B669-D471BFC55A1D}" destId="{320F89AA-85CA-41EA-B5D4-2460DB77D39B}" srcOrd="0" destOrd="0" presId="urn:microsoft.com/office/officeart/2005/8/layout/list1"/>
    <dgm:cxn modelId="{F757182E-8ABE-4977-95E4-8F6B5269081E}" srcId="{D15B180F-5983-4E1D-B669-D471BFC55A1D}" destId="{4F00F9A9-547E-4521-BACA-3AB8643EEBCD}" srcOrd="4" destOrd="0" parTransId="{7344386C-96C3-4300-8A82-30494231CAFF}" sibTransId="{6EF22CA2-D21A-4907-8B66-CFF943985F2C}"/>
    <dgm:cxn modelId="{B13F662E-00D7-4351-A638-BCB674D94D9F}" type="presOf" srcId="{60B7BE65-B52F-4FE4-AE0B-081917B0FB84}" destId="{FA396825-08F5-4D1A-A15A-6C3EA022D6C2}" srcOrd="0" destOrd="0" presId="urn:microsoft.com/office/officeart/2005/8/layout/list1"/>
    <dgm:cxn modelId="{09339F2E-DA70-4217-BA6E-A6D4CB90D097}" type="presOf" srcId="{7D96841A-4833-470E-B14D-7FB340053FF8}" destId="{0E8B6779-8123-467E-AEE3-0CBFE1E9C473}" srcOrd="0" destOrd="2" presId="urn:microsoft.com/office/officeart/2005/8/layout/list1"/>
    <dgm:cxn modelId="{3484BF33-655C-45A0-93E9-3300FE656F99}" type="presOf" srcId="{42275937-88FC-4305-B29B-9795E55AC625}" destId="{0E8B6779-8123-467E-AEE3-0CBFE1E9C473}" srcOrd="0" destOrd="1" presId="urn:microsoft.com/office/officeart/2005/8/layout/list1"/>
    <dgm:cxn modelId="{E66F0B5B-FCAD-4F50-B3F8-66328DEB7ED1}" srcId="{D15B180F-5983-4E1D-B669-D471BFC55A1D}" destId="{42275937-88FC-4305-B29B-9795E55AC625}" srcOrd="1" destOrd="0" parTransId="{8A1A2384-3CF8-4F3D-8337-A2945671F0DD}" sibTransId="{A35DE5FF-410E-4A41-923A-B0EF486B4196}"/>
    <dgm:cxn modelId="{B1B4CD65-3769-4F11-B685-48F233E3A772}" srcId="{DE908154-FE07-4DE4-A085-002E7AE0E686}" destId="{60B7BE65-B52F-4FE4-AE0B-081917B0FB84}" srcOrd="0" destOrd="0" parTransId="{3689222E-297C-4EB4-B53F-589620389F0A}" sibTransId="{FE23BD5C-290C-4FBA-8E9F-B1759E3C5EA8}"/>
    <dgm:cxn modelId="{49690866-6D86-488F-AD09-B479855ED02A}" type="presOf" srcId="{01EF6EA1-AD13-4CE9-88DA-029BC9D16595}" destId="{FA396825-08F5-4D1A-A15A-6C3EA022D6C2}" srcOrd="0" destOrd="1" presId="urn:microsoft.com/office/officeart/2005/8/layout/list1"/>
    <dgm:cxn modelId="{C925AA66-8A7E-4E4B-A1A2-16C16281915C}" srcId="{DE908154-FE07-4DE4-A085-002E7AE0E686}" destId="{01EF6EA1-AD13-4CE9-88DA-029BC9D16595}" srcOrd="1" destOrd="0" parTransId="{DCE1CC4B-22D8-4197-94A7-69701FFD5563}" sibTransId="{DD644847-16B0-4739-81D2-350D472369D8}"/>
    <dgm:cxn modelId="{1A1E9956-1C82-4255-92A7-B055A8F21810}" type="presOf" srcId="{D0BE0484-6066-4506-BBD0-6A14E089E5B6}" destId="{FA396825-08F5-4D1A-A15A-6C3EA022D6C2}" srcOrd="0" destOrd="2" presId="urn:microsoft.com/office/officeart/2005/8/layout/list1"/>
    <dgm:cxn modelId="{558E0382-2E84-48E9-9A4D-050A60FA2989}" srcId="{DE908154-FE07-4DE4-A085-002E7AE0E686}" destId="{6419400A-2702-4487-98D2-54DA3FD950E0}" srcOrd="4" destOrd="0" parTransId="{6332DBA7-B4EC-49C6-B089-04180E1229DE}" sibTransId="{FEC3B95A-431B-4183-B8AE-878BF22D2EDB}"/>
    <dgm:cxn modelId="{9030C1AD-A49D-4963-AB72-FF4A59FD72C9}" type="presOf" srcId="{D15B180F-5983-4E1D-B669-D471BFC55A1D}" destId="{CADA0271-D23C-41BD-9A45-FDCA7B1EA276}" srcOrd="1" destOrd="0" presId="urn:microsoft.com/office/officeart/2005/8/layout/list1"/>
    <dgm:cxn modelId="{3EB2D3AE-DFCE-41B5-8B85-739674086B2A}" type="presOf" srcId="{4F00F9A9-547E-4521-BACA-3AB8643EEBCD}" destId="{0E8B6779-8123-467E-AEE3-0CBFE1E9C473}" srcOrd="0" destOrd="4" presId="urn:microsoft.com/office/officeart/2005/8/layout/list1"/>
    <dgm:cxn modelId="{6BAAA2B8-FD1C-4ADE-A730-0A0E9BD219C1}" type="presOf" srcId="{4A8731CD-CAF9-4116-BAC9-E05185A851B7}" destId="{FA396825-08F5-4D1A-A15A-6C3EA022D6C2}" srcOrd="0" destOrd="3" presId="urn:microsoft.com/office/officeart/2005/8/layout/list1"/>
    <dgm:cxn modelId="{AF9DA2BE-C6BE-4610-A3F5-B96904C77BF0}" type="presOf" srcId="{6419400A-2702-4487-98D2-54DA3FD950E0}" destId="{FA396825-08F5-4D1A-A15A-6C3EA022D6C2}" srcOrd="0" destOrd="4" presId="urn:microsoft.com/office/officeart/2005/8/layout/list1"/>
    <dgm:cxn modelId="{5583D4C5-51A7-4145-B3EB-260FD53390F6}" srcId="{D15B180F-5983-4E1D-B669-D471BFC55A1D}" destId="{C80DF3EF-6753-4200-B077-4930F6E76D3E}" srcOrd="3" destOrd="0" parTransId="{A24ECAA5-6910-4BE2-8D59-0A34E8A2868D}" sibTransId="{8450A603-AB29-4345-A874-146FB6FF380F}"/>
    <dgm:cxn modelId="{D40341CD-346D-4934-A592-E93D7BE80787}" srcId="{DE908154-FE07-4DE4-A085-002E7AE0E686}" destId="{D0BE0484-6066-4506-BBD0-6A14E089E5B6}" srcOrd="2" destOrd="0" parTransId="{1A98589E-ECCB-4901-B4DC-001ED7939440}" sibTransId="{9F3EDF48-6AEF-4BDE-9F98-0835505E5D08}"/>
    <dgm:cxn modelId="{FD520AD0-86ED-4EF3-B5D9-1CFB8A77B28E}" type="presOf" srcId="{27BB11F2-29F8-43F5-890B-FE917EEC786B}" destId="{0E8B6779-8123-467E-AEE3-0CBFE1E9C473}" srcOrd="0" destOrd="0" presId="urn:microsoft.com/office/officeart/2005/8/layout/list1"/>
    <dgm:cxn modelId="{D96019D6-EC65-4721-A04D-22866E401A08}" type="presOf" srcId="{EC36E6AB-EC00-4CEE-9E2C-9FE04A6686D3}" destId="{45806292-D32D-421E-9DBE-404893EE1BFD}" srcOrd="0" destOrd="0" presId="urn:microsoft.com/office/officeart/2005/8/layout/list1"/>
    <dgm:cxn modelId="{9D24C5E1-4A76-4A3B-8C3E-26C16A971457}" srcId="{EC36E6AB-EC00-4CEE-9E2C-9FE04A6686D3}" destId="{DE908154-FE07-4DE4-A085-002E7AE0E686}" srcOrd="1" destOrd="0" parTransId="{2F41B85B-3A31-43B7-BA3C-EE482D07BA59}" sibTransId="{CCDD4D5D-4CFF-41F3-A4CC-971F99076600}"/>
    <dgm:cxn modelId="{253373EE-1710-4B98-88F8-F9B5AFF37A29}" type="presOf" srcId="{DE908154-FE07-4DE4-A085-002E7AE0E686}" destId="{B2510341-BE7A-4C21-BDEA-9CF061EB9739}" srcOrd="1" destOrd="0" presId="urn:microsoft.com/office/officeart/2005/8/layout/list1"/>
    <dgm:cxn modelId="{1AB2B7F1-955F-4CC4-A2C2-4E65FF229357}" srcId="{D15B180F-5983-4E1D-B669-D471BFC55A1D}" destId="{7D96841A-4833-470E-B14D-7FB340053FF8}" srcOrd="2" destOrd="0" parTransId="{365A4D81-80AA-4B79-A1B1-940CB8E69082}" sibTransId="{E4FD6E59-7D90-41C2-B611-EA643A29A654}"/>
    <dgm:cxn modelId="{4D95BCF4-0A05-4DF3-857B-D27DB5DC14BA}" srcId="{EC36E6AB-EC00-4CEE-9E2C-9FE04A6686D3}" destId="{D15B180F-5983-4E1D-B669-D471BFC55A1D}" srcOrd="0" destOrd="0" parTransId="{B6B8EF46-7187-451D-85CC-DECD9D7CD5E9}" sibTransId="{5F8C782B-6C65-4462-BF18-4EC0EE9BAF90}"/>
    <dgm:cxn modelId="{A3EF15F6-4FFC-43D6-B9FD-D862145CCFD4}" type="presOf" srcId="{C80DF3EF-6753-4200-B077-4930F6E76D3E}" destId="{0E8B6779-8123-467E-AEE3-0CBFE1E9C473}" srcOrd="0" destOrd="3" presId="urn:microsoft.com/office/officeart/2005/8/layout/list1"/>
    <dgm:cxn modelId="{573BE5F6-6EBB-429A-8E4B-8A2878831901}" srcId="{DE908154-FE07-4DE4-A085-002E7AE0E686}" destId="{E05CA288-1E77-4304-B4A5-A40D8BDF98BA}" srcOrd="5" destOrd="0" parTransId="{606A2949-5284-4C92-893E-3281BE41E153}" sibTransId="{92FA2878-1DDC-421B-9D8E-E7ED958E9797}"/>
    <dgm:cxn modelId="{C41A4A8B-9D7E-448D-A7E5-4115B32D9D7D}" type="presParOf" srcId="{45806292-D32D-421E-9DBE-404893EE1BFD}" destId="{1A7645A2-ED40-4ADF-AE43-E98E90324CFA}" srcOrd="0" destOrd="0" presId="urn:microsoft.com/office/officeart/2005/8/layout/list1"/>
    <dgm:cxn modelId="{03285C9D-164E-4B7C-9F07-3F377C2A99B9}" type="presParOf" srcId="{1A7645A2-ED40-4ADF-AE43-E98E90324CFA}" destId="{320F89AA-85CA-41EA-B5D4-2460DB77D39B}" srcOrd="0" destOrd="0" presId="urn:microsoft.com/office/officeart/2005/8/layout/list1"/>
    <dgm:cxn modelId="{1882B13D-F21C-4CE6-8D46-5DA4A28638DC}" type="presParOf" srcId="{1A7645A2-ED40-4ADF-AE43-E98E90324CFA}" destId="{CADA0271-D23C-41BD-9A45-FDCA7B1EA276}" srcOrd="1" destOrd="0" presId="urn:microsoft.com/office/officeart/2005/8/layout/list1"/>
    <dgm:cxn modelId="{0F5C363A-9B4D-44F8-82CA-7FEB7FBC3CD8}" type="presParOf" srcId="{45806292-D32D-421E-9DBE-404893EE1BFD}" destId="{98E7F9D2-6E05-4E62-80B9-1424493F7911}" srcOrd="1" destOrd="0" presId="urn:microsoft.com/office/officeart/2005/8/layout/list1"/>
    <dgm:cxn modelId="{A40593A1-D4BE-47C4-B404-DF6FAF63CFB0}" type="presParOf" srcId="{45806292-D32D-421E-9DBE-404893EE1BFD}" destId="{0E8B6779-8123-467E-AEE3-0CBFE1E9C473}" srcOrd="2" destOrd="0" presId="urn:microsoft.com/office/officeart/2005/8/layout/list1"/>
    <dgm:cxn modelId="{8F924435-EABA-4F4D-8B55-7E1B1A4EC6B5}" type="presParOf" srcId="{45806292-D32D-421E-9DBE-404893EE1BFD}" destId="{FEFA1470-DA55-41F2-BE81-D80D7ACD7CF3}" srcOrd="3" destOrd="0" presId="urn:microsoft.com/office/officeart/2005/8/layout/list1"/>
    <dgm:cxn modelId="{C721B6D6-F3BB-4217-8249-FEE679AEB537}" type="presParOf" srcId="{45806292-D32D-421E-9DBE-404893EE1BFD}" destId="{272B3A05-46B5-4107-9F2B-EE0D69DB8389}" srcOrd="4" destOrd="0" presId="urn:microsoft.com/office/officeart/2005/8/layout/list1"/>
    <dgm:cxn modelId="{E163CA44-838C-4411-8245-C3FBC69F1C61}" type="presParOf" srcId="{272B3A05-46B5-4107-9F2B-EE0D69DB8389}" destId="{8BBD026B-5826-492B-B6AE-537FE8942E93}" srcOrd="0" destOrd="0" presId="urn:microsoft.com/office/officeart/2005/8/layout/list1"/>
    <dgm:cxn modelId="{AC3A1154-F436-4F97-8132-3DBBB6212809}" type="presParOf" srcId="{272B3A05-46B5-4107-9F2B-EE0D69DB8389}" destId="{B2510341-BE7A-4C21-BDEA-9CF061EB9739}" srcOrd="1" destOrd="0" presId="urn:microsoft.com/office/officeart/2005/8/layout/list1"/>
    <dgm:cxn modelId="{6ED7D9AC-D76F-44F3-AD40-5FD79613E2AB}" type="presParOf" srcId="{45806292-D32D-421E-9DBE-404893EE1BFD}" destId="{211D84F4-2155-4290-954D-FE8BC350B1B0}" srcOrd="5" destOrd="0" presId="urn:microsoft.com/office/officeart/2005/8/layout/list1"/>
    <dgm:cxn modelId="{F1E86738-B2C5-422E-8882-47A7AB0CC94C}" type="presParOf" srcId="{45806292-D32D-421E-9DBE-404893EE1BFD}" destId="{FA396825-08F5-4D1A-A15A-6C3EA022D6C2}"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56AE0-D411-48D7-ACEB-5F26444D79CC}">
      <dsp:nvSpPr>
        <dsp:cNvPr id="0" name=""/>
        <dsp:cNvSpPr/>
      </dsp:nvSpPr>
      <dsp:spPr>
        <a:xfrm>
          <a:off x="2111" y="0"/>
          <a:ext cx="3285678" cy="4022725"/>
        </a:xfrm>
        <a:prstGeom prst="roundRect">
          <a:avLst>
            <a:gd name="adj" fmla="val 10000"/>
          </a:avLst>
        </a:prstGeom>
        <a:solidFill>
          <a:schemeClr val="accent2">
            <a:lumMod val="7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a:t>Chicago Department of Public Health</a:t>
          </a:r>
          <a:endParaRPr lang="en-US" sz="2800" kern="1200" dirty="0"/>
        </a:p>
      </dsp:txBody>
      <dsp:txXfrm>
        <a:off x="2111" y="1609089"/>
        <a:ext cx="3285678" cy="1609090"/>
      </dsp:txXfrm>
    </dsp:sp>
    <dsp:sp modelId="{7B8E246C-456B-4FF1-AA35-513A1E5B388B}">
      <dsp:nvSpPr>
        <dsp:cNvPr id="0" name=""/>
        <dsp:cNvSpPr/>
      </dsp:nvSpPr>
      <dsp:spPr>
        <a:xfrm>
          <a:off x="975167" y="241363"/>
          <a:ext cx="1339567" cy="1339567"/>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889F617-0E42-416E-94FB-61624D8E3D5E}">
      <dsp:nvSpPr>
        <dsp:cNvPr id="0" name=""/>
        <dsp:cNvSpPr/>
      </dsp:nvSpPr>
      <dsp:spPr>
        <a:xfrm>
          <a:off x="3386360" y="0"/>
          <a:ext cx="3285678" cy="4022725"/>
        </a:xfrm>
        <a:prstGeom prst="roundRect">
          <a:avLst>
            <a:gd name="adj" fmla="val 10000"/>
          </a:avLst>
        </a:prstGeom>
        <a:solidFill>
          <a:schemeClr val="accent2">
            <a:lumMod val="7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Rush University Medical Center</a:t>
          </a:r>
        </a:p>
      </dsp:txBody>
      <dsp:txXfrm>
        <a:off x="3386360" y="1609089"/>
        <a:ext cx="3285678" cy="1609090"/>
      </dsp:txXfrm>
    </dsp:sp>
    <dsp:sp modelId="{7CBD4D66-5305-45C0-83EF-1449866BC925}">
      <dsp:nvSpPr>
        <dsp:cNvPr id="0" name=""/>
        <dsp:cNvSpPr/>
      </dsp:nvSpPr>
      <dsp:spPr>
        <a:xfrm>
          <a:off x="4359416" y="241363"/>
          <a:ext cx="1339567" cy="1339567"/>
        </a:xfrm>
        <a:prstGeom prst="ellipse">
          <a:avLst/>
        </a:prstGeom>
        <a:blipFill rotWithShape="1">
          <a:blip xmlns:r="http://schemas.openxmlformats.org/officeDocument/2006/relationships" r:embed="rId2" cstate="email">
            <a:extLst>
              <a:ext uri="{28A0092B-C50C-407E-A947-70E740481C1C}">
                <a14:useLocalDpi xmlns:a14="http://schemas.microsoft.com/office/drawing/2010/main"/>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E860E6D-4731-4A5F-9E9F-910CF5F20A24}">
      <dsp:nvSpPr>
        <dsp:cNvPr id="0" name=""/>
        <dsp:cNvSpPr/>
      </dsp:nvSpPr>
      <dsp:spPr>
        <a:xfrm>
          <a:off x="6770609" y="0"/>
          <a:ext cx="3285678" cy="4022725"/>
        </a:xfrm>
        <a:prstGeom prst="roundRect">
          <a:avLst>
            <a:gd name="adj" fmla="val 10000"/>
          </a:avLst>
        </a:prstGeom>
        <a:solidFill>
          <a:schemeClr val="accent2">
            <a:lumMod val="7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r>
            <a:rPr lang="en-US" sz="2800" kern="1200" dirty="0"/>
            <a:t>Rush University College of Nursing</a:t>
          </a:r>
        </a:p>
      </dsp:txBody>
      <dsp:txXfrm>
        <a:off x="6770609" y="1609089"/>
        <a:ext cx="3285678" cy="1609090"/>
      </dsp:txXfrm>
    </dsp:sp>
    <dsp:sp modelId="{C107A9C0-D765-44E6-AFC3-F780F8FD5B75}">
      <dsp:nvSpPr>
        <dsp:cNvPr id="0" name=""/>
        <dsp:cNvSpPr/>
      </dsp:nvSpPr>
      <dsp:spPr>
        <a:xfrm>
          <a:off x="7743665" y="241363"/>
          <a:ext cx="1339567" cy="1339567"/>
        </a:xfrm>
        <a:prstGeom prst="ellipse">
          <a:avLst/>
        </a:prstGeom>
        <a:blipFill rotWithShape="1">
          <a:blip xmlns:r="http://schemas.openxmlformats.org/officeDocument/2006/relationships" r:embed="rId3" cstate="email">
            <a:extLst>
              <a:ext uri="{28A0092B-C50C-407E-A947-70E740481C1C}">
                <a14:useLocalDpi xmlns:a14="http://schemas.microsoft.com/office/drawing/2010/main"/>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5C1219-E7B5-4B20-92BB-B58FDF930EB7}">
      <dsp:nvSpPr>
        <dsp:cNvPr id="0" name=""/>
        <dsp:cNvSpPr/>
      </dsp:nvSpPr>
      <dsp:spPr>
        <a:xfrm>
          <a:off x="402335" y="3218180"/>
          <a:ext cx="9253728" cy="603408"/>
        </a:xfrm>
        <a:prstGeom prst="leftRightArrow">
          <a:avLst/>
        </a:prstGeom>
        <a:solidFill>
          <a:schemeClr val="accent3">
            <a:tint val="6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91745E-64BA-43E9-99F9-610D6A6096DE}">
      <dsp:nvSpPr>
        <dsp:cNvPr id="0" name=""/>
        <dsp:cNvSpPr/>
      </dsp:nvSpPr>
      <dsp:spPr>
        <a:xfrm>
          <a:off x="98583" y="684"/>
          <a:ext cx="1478756" cy="887253"/>
        </a:xfrm>
        <a:prstGeom prst="roundRect">
          <a:avLst>
            <a:gd name="adj" fmla="val 10000"/>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Evaluate Current System Strengths/Gaps</a:t>
          </a:r>
        </a:p>
      </dsp:txBody>
      <dsp:txXfrm>
        <a:off x="124570" y="26671"/>
        <a:ext cx="1426782" cy="835279"/>
      </dsp:txXfrm>
    </dsp:sp>
    <dsp:sp modelId="{D7A43FCB-C96A-4A7E-B3AA-0CDF7C0762F5}">
      <dsp:nvSpPr>
        <dsp:cNvPr id="0" name=""/>
        <dsp:cNvSpPr/>
      </dsp:nvSpPr>
      <dsp:spPr>
        <a:xfrm>
          <a:off x="1707470" y="260945"/>
          <a:ext cx="313496" cy="366731"/>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707470" y="334291"/>
        <a:ext cx="219447" cy="220039"/>
      </dsp:txXfrm>
    </dsp:sp>
    <dsp:sp modelId="{096F7E57-2E6F-48A8-95D8-304CBBB4E917}">
      <dsp:nvSpPr>
        <dsp:cNvPr id="0" name=""/>
        <dsp:cNvSpPr/>
      </dsp:nvSpPr>
      <dsp:spPr>
        <a:xfrm>
          <a:off x="2168842" y="684"/>
          <a:ext cx="1478756" cy="887253"/>
        </a:xfrm>
        <a:prstGeom prst="roundRect">
          <a:avLst>
            <a:gd name="adj" fmla="val 10000"/>
          </a:avLst>
        </a:prstGeom>
        <a:solidFill>
          <a:schemeClr val="accent1">
            <a:shade val="80000"/>
            <a:hueOff val="33908"/>
            <a:satOff val="-805"/>
            <a:lumOff val="2527"/>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Identify Stakeholders</a:t>
          </a:r>
        </a:p>
      </dsp:txBody>
      <dsp:txXfrm>
        <a:off x="2194829" y="26671"/>
        <a:ext cx="1426782" cy="835279"/>
      </dsp:txXfrm>
    </dsp:sp>
    <dsp:sp modelId="{DE6D5FD1-D30C-4904-BD7E-51557C49066C}">
      <dsp:nvSpPr>
        <dsp:cNvPr id="0" name=""/>
        <dsp:cNvSpPr/>
      </dsp:nvSpPr>
      <dsp:spPr>
        <a:xfrm rot="21598864">
          <a:off x="3777729" y="260606"/>
          <a:ext cx="313496" cy="366731"/>
        </a:xfrm>
        <a:prstGeom prst="rightArrow">
          <a:avLst>
            <a:gd name="adj1" fmla="val 60000"/>
            <a:gd name="adj2" fmla="val 50000"/>
          </a:avLst>
        </a:prstGeom>
        <a:solidFill>
          <a:schemeClr val="accent1">
            <a:shade val="90000"/>
            <a:hueOff val="37299"/>
            <a:satOff val="-853"/>
            <a:lumOff val="25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777729" y="333968"/>
        <a:ext cx="219447" cy="220039"/>
      </dsp:txXfrm>
    </dsp:sp>
    <dsp:sp modelId="{1CC3C813-5517-479F-9FD3-8ABC40AD6FAD}">
      <dsp:nvSpPr>
        <dsp:cNvPr id="0" name=""/>
        <dsp:cNvSpPr/>
      </dsp:nvSpPr>
      <dsp:spPr>
        <a:xfrm>
          <a:off x="4239101" y="0"/>
          <a:ext cx="1478756" cy="887253"/>
        </a:xfrm>
        <a:prstGeom prst="roundRect">
          <a:avLst>
            <a:gd name="adj" fmla="val 10000"/>
          </a:avLst>
        </a:prstGeom>
        <a:solidFill>
          <a:schemeClr val="accent1">
            <a:shade val="80000"/>
            <a:hueOff val="67815"/>
            <a:satOff val="-1609"/>
            <a:lumOff val="505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Create a Budget</a:t>
          </a:r>
        </a:p>
      </dsp:txBody>
      <dsp:txXfrm>
        <a:off x="4265088" y="25987"/>
        <a:ext cx="1426782" cy="835279"/>
      </dsp:txXfrm>
    </dsp:sp>
    <dsp:sp modelId="{1E31B5B1-1A3C-4173-BAA5-C6E1EB090B85}">
      <dsp:nvSpPr>
        <dsp:cNvPr id="0" name=""/>
        <dsp:cNvSpPr/>
      </dsp:nvSpPr>
      <dsp:spPr>
        <a:xfrm rot="1136">
          <a:off x="5847988" y="260600"/>
          <a:ext cx="313496" cy="366731"/>
        </a:xfrm>
        <a:prstGeom prst="rightArrow">
          <a:avLst>
            <a:gd name="adj1" fmla="val 60000"/>
            <a:gd name="adj2" fmla="val 50000"/>
          </a:avLst>
        </a:prstGeom>
        <a:solidFill>
          <a:schemeClr val="accent1">
            <a:shade val="90000"/>
            <a:hueOff val="74597"/>
            <a:satOff val="-1705"/>
            <a:lumOff val="50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847988" y="333930"/>
        <a:ext cx="219447" cy="220039"/>
      </dsp:txXfrm>
    </dsp:sp>
    <dsp:sp modelId="{76271DA3-F7EC-4480-9BFE-3739B0259132}">
      <dsp:nvSpPr>
        <dsp:cNvPr id="0" name=""/>
        <dsp:cNvSpPr/>
      </dsp:nvSpPr>
      <dsp:spPr>
        <a:xfrm>
          <a:off x="6309360" y="684"/>
          <a:ext cx="1478756" cy="887253"/>
        </a:xfrm>
        <a:prstGeom prst="roundRect">
          <a:avLst>
            <a:gd name="adj" fmla="val 10000"/>
          </a:avLst>
        </a:prstGeom>
        <a:solidFill>
          <a:schemeClr val="accent1">
            <a:shade val="80000"/>
            <a:hueOff val="101723"/>
            <a:satOff val="-2414"/>
            <a:lumOff val="758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Legal Team for Consents and Data Sharing</a:t>
          </a:r>
        </a:p>
      </dsp:txBody>
      <dsp:txXfrm>
        <a:off x="6335347" y="26671"/>
        <a:ext cx="1426782" cy="835279"/>
      </dsp:txXfrm>
    </dsp:sp>
    <dsp:sp modelId="{3F6E7EB0-9818-44A3-BCC5-DAA349EE6926}">
      <dsp:nvSpPr>
        <dsp:cNvPr id="0" name=""/>
        <dsp:cNvSpPr/>
      </dsp:nvSpPr>
      <dsp:spPr>
        <a:xfrm rot="5400000">
          <a:off x="6891989" y="991451"/>
          <a:ext cx="313496" cy="366731"/>
        </a:xfrm>
        <a:prstGeom prst="rightArrow">
          <a:avLst>
            <a:gd name="adj1" fmla="val 60000"/>
            <a:gd name="adj2" fmla="val 50000"/>
          </a:avLst>
        </a:prstGeom>
        <a:solidFill>
          <a:schemeClr val="accent1">
            <a:shade val="90000"/>
            <a:hueOff val="111896"/>
            <a:satOff val="-2558"/>
            <a:lumOff val="756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6938718" y="1018069"/>
        <a:ext cx="220039" cy="219447"/>
      </dsp:txXfrm>
    </dsp:sp>
    <dsp:sp modelId="{9BEEFFA6-8BA9-4ACC-BA73-FB1B305C41ED}">
      <dsp:nvSpPr>
        <dsp:cNvPr id="0" name=""/>
        <dsp:cNvSpPr/>
      </dsp:nvSpPr>
      <dsp:spPr>
        <a:xfrm>
          <a:off x="6309360" y="1479440"/>
          <a:ext cx="1478756" cy="887253"/>
        </a:xfrm>
        <a:prstGeom prst="roundRect">
          <a:avLst>
            <a:gd name="adj" fmla="val 10000"/>
          </a:avLst>
        </a:prstGeom>
        <a:solidFill>
          <a:schemeClr val="accent1">
            <a:shade val="80000"/>
            <a:hueOff val="135630"/>
            <a:satOff val="-3219"/>
            <a:lumOff val="1010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Hire and Orient Community Health Nurses</a:t>
          </a:r>
        </a:p>
      </dsp:txBody>
      <dsp:txXfrm>
        <a:off x="6335347" y="1505427"/>
        <a:ext cx="1426782" cy="835279"/>
      </dsp:txXfrm>
    </dsp:sp>
    <dsp:sp modelId="{87A6D8AB-FFC8-450D-8766-5404E9621FC9}">
      <dsp:nvSpPr>
        <dsp:cNvPr id="0" name=""/>
        <dsp:cNvSpPr/>
      </dsp:nvSpPr>
      <dsp:spPr>
        <a:xfrm rot="10800000">
          <a:off x="5865733" y="1739701"/>
          <a:ext cx="313496" cy="366731"/>
        </a:xfrm>
        <a:prstGeom prst="rightArrow">
          <a:avLst>
            <a:gd name="adj1" fmla="val 60000"/>
            <a:gd name="adj2" fmla="val 50000"/>
          </a:avLst>
        </a:prstGeom>
        <a:solidFill>
          <a:schemeClr val="accent1">
            <a:shade val="90000"/>
            <a:hueOff val="149195"/>
            <a:satOff val="-3411"/>
            <a:lumOff val="100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5959782" y="1813047"/>
        <a:ext cx="219447" cy="220039"/>
      </dsp:txXfrm>
    </dsp:sp>
    <dsp:sp modelId="{BFA35643-D34C-4235-B62F-59D84C89D0AA}">
      <dsp:nvSpPr>
        <dsp:cNvPr id="0" name=""/>
        <dsp:cNvSpPr/>
      </dsp:nvSpPr>
      <dsp:spPr>
        <a:xfrm>
          <a:off x="4239101" y="1479440"/>
          <a:ext cx="1478756" cy="887253"/>
        </a:xfrm>
        <a:prstGeom prst="roundRect">
          <a:avLst>
            <a:gd name="adj" fmla="val 10000"/>
          </a:avLst>
        </a:prstGeom>
        <a:solidFill>
          <a:schemeClr val="accent1">
            <a:shade val="80000"/>
            <a:hueOff val="169538"/>
            <a:satOff val="-4024"/>
            <a:lumOff val="1263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Develop Documentation</a:t>
          </a:r>
        </a:p>
      </dsp:txBody>
      <dsp:txXfrm>
        <a:off x="4265088" y="1505427"/>
        <a:ext cx="1426782" cy="835279"/>
      </dsp:txXfrm>
    </dsp:sp>
    <dsp:sp modelId="{1D409F16-C764-41B9-B305-B84D4EB3F463}">
      <dsp:nvSpPr>
        <dsp:cNvPr id="0" name=""/>
        <dsp:cNvSpPr/>
      </dsp:nvSpPr>
      <dsp:spPr>
        <a:xfrm rot="10800000">
          <a:off x="3795474" y="1739701"/>
          <a:ext cx="313496" cy="366731"/>
        </a:xfrm>
        <a:prstGeom prst="rightArrow">
          <a:avLst>
            <a:gd name="adj1" fmla="val 60000"/>
            <a:gd name="adj2" fmla="val 50000"/>
          </a:avLst>
        </a:prstGeom>
        <a:solidFill>
          <a:schemeClr val="accent1">
            <a:shade val="90000"/>
            <a:hueOff val="186493"/>
            <a:satOff val="-4263"/>
            <a:lumOff val="1261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3889523" y="1813047"/>
        <a:ext cx="219447" cy="220039"/>
      </dsp:txXfrm>
    </dsp:sp>
    <dsp:sp modelId="{115C8653-665E-420E-AA74-6720CE5B4B22}">
      <dsp:nvSpPr>
        <dsp:cNvPr id="0" name=""/>
        <dsp:cNvSpPr/>
      </dsp:nvSpPr>
      <dsp:spPr>
        <a:xfrm>
          <a:off x="2168842" y="1479440"/>
          <a:ext cx="1478756" cy="887253"/>
        </a:xfrm>
        <a:prstGeom prst="roundRect">
          <a:avLst>
            <a:gd name="adj" fmla="val 10000"/>
          </a:avLst>
        </a:prstGeom>
        <a:solidFill>
          <a:schemeClr val="accent1">
            <a:shade val="80000"/>
            <a:hueOff val="203445"/>
            <a:satOff val="-4828"/>
            <a:lumOff val="1516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Develop Workflows</a:t>
          </a:r>
        </a:p>
      </dsp:txBody>
      <dsp:txXfrm>
        <a:off x="2194829" y="1505427"/>
        <a:ext cx="1426782" cy="835279"/>
      </dsp:txXfrm>
    </dsp:sp>
    <dsp:sp modelId="{32C0D73D-6C23-4590-AEBC-FD7AE2B46B3E}">
      <dsp:nvSpPr>
        <dsp:cNvPr id="0" name=""/>
        <dsp:cNvSpPr/>
      </dsp:nvSpPr>
      <dsp:spPr>
        <a:xfrm rot="10800000">
          <a:off x="1725215" y="1739701"/>
          <a:ext cx="313496" cy="366731"/>
        </a:xfrm>
        <a:prstGeom prst="rightArrow">
          <a:avLst>
            <a:gd name="adj1" fmla="val 60000"/>
            <a:gd name="adj2" fmla="val 50000"/>
          </a:avLst>
        </a:prstGeom>
        <a:solidFill>
          <a:schemeClr val="accent1">
            <a:shade val="90000"/>
            <a:hueOff val="223792"/>
            <a:satOff val="-5116"/>
            <a:lumOff val="1513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1819264" y="1813047"/>
        <a:ext cx="219447" cy="220039"/>
      </dsp:txXfrm>
    </dsp:sp>
    <dsp:sp modelId="{61E3B8C7-BC70-4395-ADDD-3E33CA714396}">
      <dsp:nvSpPr>
        <dsp:cNvPr id="0" name=""/>
        <dsp:cNvSpPr/>
      </dsp:nvSpPr>
      <dsp:spPr>
        <a:xfrm>
          <a:off x="98583" y="1479440"/>
          <a:ext cx="1478756" cy="887253"/>
        </a:xfrm>
        <a:prstGeom prst="roundRect">
          <a:avLst>
            <a:gd name="adj" fmla="val 10000"/>
          </a:avLst>
        </a:prstGeom>
        <a:solidFill>
          <a:schemeClr val="accent1">
            <a:shade val="80000"/>
            <a:hueOff val="237353"/>
            <a:satOff val="-5633"/>
            <a:lumOff val="1769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Marketing</a:t>
          </a:r>
        </a:p>
      </dsp:txBody>
      <dsp:txXfrm>
        <a:off x="124570" y="1505427"/>
        <a:ext cx="1426782" cy="835279"/>
      </dsp:txXfrm>
    </dsp:sp>
    <dsp:sp modelId="{A8890028-D392-4DC3-AF6D-A2E28CBF74C5}">
      <dsp:nvSpPr>
        <dsp:cNvPr id="0" name=""/>
        <dsp:cNvSpPr/>
      </dsp:nvSpPr>
      <dsp:spPr>
        <a:xfrm rot="5400000">
          <a:off x="681213" y="2470207"/>
          <a:ext cx="313496" cy="366731"/>
        </a:xfrm>
        <a:prstGeom prst="rightArrow">
          <a:avLst>
            <a:gd name="adj1" fmla="val 60000"/>
            <a:gd name="adj2" fmla="val 50000"/>
          </a:avLst>
        </a:prstGeom>
        <a:solidFill>
          <a:schemeClr val="accent1">
            <a:shade val="90000"/>
            <a:hueOff val="261091"/>
            <a:satOff val="-5969"/>
            <a:lumOff val="1765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727942" y="2496825"/>
        <a:ext cx="220039" cy="219447"/>
      </dsp:txXfrm>
    </dsp:sp>
    <dsp:sp modelId="{8B18FEBC-F321-4626-8AD9-3FCDB1C8F51C}">
      <dsp:nvSpPr>
        <dsp:cNvPr id="0" name=""/>
        <dsp:cNvSpPr/>
      </dsp:nvSpPr>
      <dsp:spPr>
        <a:xfrm>
          <a:off x="98583" y="2958196"/>
          <a:ext cx="1478756" cy="887253"/>
        </a:xfrm>
        <a:prstGeom prst="roundRect">
          <a:avLst>
            <a:gd name="adj" fmla="val 10000"/>
          </a:avLst>
        </a:prstGeom>
        <a:solidFill>
          <a:schemeClr val="accent1">
            <a:shade val="80000"/>
            <a:hueOff val="271260"/>
            <a:satOff val="-6438"/>
            <a:lumOff val="2021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System for Referrals</a:t>
          </a:r>
        </a:p>
      </dsp:txBody>
      <dsp:txXfrm>
        <a:off x="124570" y="2984183"/>
        <a:ext cx="1426782" cy="835279"/>
      </dsp:txXfrm>
    </dsp:sp>
    <dsp:sp modelId="{770A589E-3D19-4075-ACC7-EC764512294C}">
      <dsp:nvSpPr>
        <dsp:cNvPr id="0" name=""/>
        <dsp:cNvSpPr/>
      </dsp:nvSpPr>
      <dsp:spPr>
        <a:xfrm>
          <a:off x="1707470" y="3218457"/>
          <a:ext cx="313496" cy="366731"/>
        </a:xfrm>
        <a:prstGeom prst="rightArrow">
          <a:avLst>
            <a:gd name="adj1" fmla="val 60000"/>
            <a:gd name="adj2" fmla="val 50000"/>
          </a:avLst>
        </a:prstGeom>
        <a:solidFill>
          <a:schemeClr val="accent1">
            <a:shade val="90000"/>
            <a:hueOff val="298389"/>
            <a:satOff val="-6822"/>
            <a:lumOff val="201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707470" y="3291803"/>
        <a:ext cx="219447" cy="220039"/>
      </dsp:txXfrm>
    </dsp:sp>
    <dsp:sp modelId="{D18935A9-0116-46A2-8843-92C65DA6E7AA}">
      <dsp:nvSpPr>
        <dsp:cNvPr id="0" name=""/>
        <dsp:cNvSpPr/>
      </dsp:nvSpPr>
      <dsp:spPr>
        <a:xfrm>
          <a:off x="2168842" y="2958196"/>
          <a:ext cx="1478756" cy="887253"/>
        </a:xfrm>
        <a:prstGeom prst="roundRect">
          <a:avLst>
            <a:gd name="adj" fmla="val 10000"/>
          </a:avLst>
        </a:prstGeom>
        <a:solidFill>
          <a:schemeClr val="accent1">
            <a:shade val="80000"/>
            <a:hueOff val="305168"/>
            <a:satOff val="-7243"/>
            <a:lumOff val="2274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Ensure Nurse Safety at Visits</a:t>
          </a:r>
        </a:p>
      </dsp:txBody>
      <dsp:txXfrm>
        <a:off x="2194829" y="2984183"/>
        <a:ext cx="1426782" cy="835279"/>
      </dsp:txXfrm>
    </dsp:sp>
    <dsp:sp modelId="{EB7CA03E-F1EA-4D2F-AB1C-AC95D9549017}">
      <dsp:nvSpPr>
        <dsp:cNvPr id="0" name=""/>
        <dsp:cNvSpPr/>
      </dsp:nvSpPr>
      <dsp:spPr>
        <a:xfrm>
          <a:off x="3777729" y="3218457"/>
          <a:ext cx="313496" cy="366731"/>
        </a:xfrm>
        <a:prstGeom prst="rightArrow">
          <a:avLst>
            <a:gd name="adj1" fmla="val 60000"/>
            <a:gd name="adj2" fmla="val 50000"/>
          </a:avLst>
        </a:prstGeom>
        <a:solidFill>
          <a:schemeClr val="accent1">
            <a:shade val="90000"/>
            <a:hueOff val="335688"/>
            <a:satOff val="-7674"/>
            <a:lumOff val="2269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777729" y="3291803"/>
        <a:ext cx="219447" cy="220039"/>
      </dsp:txXfrm>
    </dsp:sp>
    <dsp:sp modelId="{66F02E46-44AB-494B-AEBB-15B2669CD6D1}">
      <dsp:nvSpPr>
        <dsp:cNvPr id="0" name=""/>
        <dsp:cNvSpPr/>
      </dsp:nvSpPr>
      <dsp:spPr>
        <a:xfrm>
          <a:off x="4239101" y="2958196"/>
          <a:ext cx="1478756" cy="887253"/>
        </a:xfrm>
        <a:prstGeom prst="roundRect">
          <a:avLst>
            <a:gd name="adj" fmla="val 10000"/>
          </a:avLst>
        </a:prstGeom>
        <a:solidFill>
          <a:schemeClr val="accent1">
            <a:shade val="80000"/>
            <a:hueOff val="339075"/>
            <a:satOff val="-8047"/>
            <a:lumOff val="2527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Inform and Educate Providers and Inpatient Staff</a:t>
          </a:r>
        </a:p>
      </dsp:txBody>
      <dsp:txXfrm>
        <a:off x="4265088" y="2984183"/>
        <a:ext cx="1426782" cy="835279"/>
      </dsp:txXfrm>
    </dsp:sp>
    <dsp:sp modelId="{EAD5E8FB-EDC0-49B5-A2B5-6342C135AD23}">
      <dsp:nvSpPr>
        <dsp:cNvPr id="0" name=""/>
        <dsp:cNvSpPr/>
      </dsp:nvSpPr>
      <dsp:spPr>
        <a:xfrm>
          <a:off x="5847988" y="3218457"/>
          <a:ext cx="313496" cy="366731"/>
        </a:xfrm>
        <a:prstGeom prst="rightArrow">
          <a:avLst>
            <a:gd name="adj1" fmla="val 60000"/>
            <a:gd name="adj2" fmla="val 50000"/>
          </a:avLst>
        </a:prstGeom>
        <a:solidFill>
          <a:schemeClr val="accent1">
            <a:shade val="90000"/>
            <a:hueOff val="372987"/>
            <a:satOff val="-8527"/>
            <a:lumOff val="2522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847988" y="3291803"/>
        <a:ext cx="219447" cy="220039"/>
      </dsp:txXfrm>
    </dsp:sp>
    <dsp:sp modelId="{F380F59B-16B9-4996-84B3-E9E608BDFA30}">
      <dsp:nvSpPr>
        <dsp:cNvPr id="0" name=""/>
        <dsp:cNvSpPr/>
      </dsp:nvSpPr>
      <dsp:spPr>
        <a:xfrm>
          <a:off x="6309360" y="2958196"/>
          <a:ext cx="1478756" cy="887253"/>
        </a:xfrm>
        <a:prstGeom prst="roundRect">
          <a:avLst>
            <a:gd name="adj" fmla="val 10000"/>
          </a:avLst>
        </a:prstGeom>
        <a:solidFill>
          <a:schemeClr val="accent1">
            <a:shade val="80000"/>
            <a:hueOff val="372983"/>
            <a:satOff val="-8852"/>
            <a:lumOff val="2780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latin typeface="Georgia" panose="02040502050405020303" pitchFamily="18" charset="0"/>
            </a:rPr>
            <a:t>Evaluation</a:t>
          </a:r>
        </a:p>
      </dsp:txBody>
      <dsp:txXfrm>
        <a:off x="6335347" y="2984183"/>
        <a:ext cx="1426782" cy="8352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EF7000-3C5D-4984-82DD-8B9FD78900CA}">
      <dsp:nvSpPr>
        <dsp:cNvPr id="0" name=""/>
        <dsp:cNvSpPr/>
      </dsp:nvSpPr>
      <dsp:spPr>
        <a:xfrm>
          <a:off x="0" y="0"/>
          <a:ext cx="849377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08B6B3-97BD-4625-B4D6-1AC282A12B75}">
      <dsp:nvSpPr>
        <dsp:cNvPr id="0" name=""/>
        <dsp:cNvSpPr/>
      </dsp:nvSpPr>
      <dsp:spPr>
        <a:xfrm>
          <a:off x="0" y="0"/>
          <a:ext cx="2394879" cy="1018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solidFill>
                <a:srgbClr val="002060"/>
              </a:solidFill>
              <a:latin typeface="Gill Sans MT" panose="020B0502020104020203" pitchFamily="34" charset="0"/>
            </a:rPr>
            <a:t>Support for Health Care</a:t>
          </a:r>
        </a:p>
      </dsp:txBody>
      <dsp:txXfrm>
        <a:off x="0" y="0"/>
        <a:ext cx="2394879" cy="1018814"/>
      </dsp:txXfrm>
    </dsp:sp>
    <dsp:sp modelId="{13DC874F-7BE1-4F1C-953F-A365676059F4}">
      <dsp:nvSpPr>
        <dsp:cNvPr id="0" name=""/>
        <dsp:cNvSpPr/>
      </dsp:nvSpPr>
      <dsp:spPr>
        <a:xfrm>
          <a:off x="2509222" y="15918"/>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1. </a:t>
          </a:r>
          <a:r>
            <a:rPr lang="en-US" sz="1800" kern="1200" baseline="0" dirty="0">
              <a:solidFill>
                <a:srgbClr val="002060"/>
              </a:solidFill>
              <a:latin typeface="Gill Sans MT" panose="020B0502020104020203" pitchFamily="34" charset="0"/>
            </a:rPr>
            <a:t>Maternal</a:t>
          </a:r>
          <a:r>
            <a:rPr lang="en-US" sz="1800" kern="1200" dirty="0">
              <a:solidFill>
                <a:srgbClr val="002060"/>
              </a:solidFill>
              <a:latin typeface="Gill Sans MT" panose="020B0502020104020203" pitchFamily="34" charset="0"/>
            </a:rPr>
            <a:t> Health</a:t>
          </a:r>
        </a:p>
      </dsp:txBody>
      <dsp:txXfrm>
        <a:off x="2509222" y="15918"/>
        <a:ext cx="5983921" cy="318379"/>
      </dsp:txXfrm>
    </dsp:sp>
    <dsp:sp modelId="{944B96C3-8B10-4510-B54A-63734023139E}">
      <dsp:nvSpPr>
        <dsp:cNvPr id="0" name=""/>
        <dsp:cNvSpPr/>
      </dsp:nvSpPr>
      <dsp:spPr>
        <a:xfrm>
          <a:off x="2394879" y="334298"/>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E25DAB7-4931-4195-BE27-7692C0334E0C}">
      <dsp:nvSpPr>
        <dsp:cNvPr id="0" name=""/>
        <dsp:cNvSpPr/>
      </dsp:nvSpPr>
      <dsp:spPr>
        <a:xfrm>
          <a:off x="2509222" y="350217"/>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2. Infant Health</a:t>
          </a:r>
        </a:p>
      </dsp:txBody>
      <dsp:txXfrm>
        <a:off x="2509222" y="350217"/>
        <a:ext cx="5983921" cy="318379"/>
      </dsp:txXfrm>
    </dsp:sp>
    <dsp:sp modelId="{98E914D1-75D2-4493-B3E3-6A1FE8CBCF64}">
      <dsp:nvSpPr>
        <dsp:cNvPr id="0" name=""/>
        <dsp:cNvSpPr/>
      </dsp:nvSpPr>
      <dsp:spPr>
        <a:xfrm>
          <a:off x="2394879" y="668596"/>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7A14F1-01A4-403F-B3FD-F5DDCC16719B}">
      <dsp:nvSpPr>
        <dsp:cNvPr id="0" name=""/>
        <dsp:cNvSpPr/>
      </dsp:nvSpPr>
      <dsp:spPr>
        <a:xfrm>
          <a:off x="2509222" y="684515"/>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3. Health Care Plans</a:t>
          </a:r>
        </a:p>
      </dsp:txBody>
      <dsp:txXfrm>
        <a:off x="2509222" y="684515"/>
        <a:ext cx="5983921" cy="318379"/>
      </dsp:txXfrm>
    </dsp:sp>
    <dsp:sp modelId="{3C909510-8AEB-4256-8A1B-D7DFF79127E8}">
      <dsp:nvSpPr>
        <dsp:cNvPr id="0" name=""/>
        <dsp:cNvSpPr/>
      </dsp:nvSpPr>
      <dsp:spPr>
        <a:xfrm>
          <a:off x="2394879" y="1002895"/>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FB16CC-68B9-4F45-A9BB-BC726E0DB8E7}">
      <dsp:nvSpPr>
        <dsp:cNvPr id="0" name=""/>
        <dsp:cNvSpPr/>
      </dsp:nvSpPr>
      <dsp:spPr>
        <a:xfrm>
          <a:off x="0" y="1018814"/>
          <a:ext cx="849377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097D11-35B3-4E9C-B2BD-1205ABEEE9B1}">
      <dsp:nvSpPr>
        <dsp:cNvPr id="0" name=""/>
        <dsp:cNvSpPr/>
      </dsp:nvSpPr>
      <dsp:spPr>
        <a:xfrm>
          <a:off x="0" y="1018814"/>
          <a:ext cx="2389665" cy="1018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solidFill>
                <a:srgbClr val="002060"/>
              </a:solidFill>
              <a:latin typeface="Gill Sans MT" panose="020B0502020104020203" pitchFamily="34" charset="0"/>
            </a:rPr>
            <a:t>Support for </a:t>
          </a:r>
          <a:br>
            <a:rPr lang="en-US" sz="2000" kern="1200" dirty="0">
              <a:solidFill>
                <a:srgbClr val="002060"/>
              </a:solidFill>
              <a:latin typeface="Gill Sans MT" panose="020B0502020104020203" pitchFamily="34" charset="0"/>
            </a:rPr>
          </a:br>
          <a:r>
            <a:rPr lang="en-US" sz="2000" kern="1200" dirty="0">
              <a:solidFill>
                <a:srgbClr val="002060"/>
              </a:solidFill>
              <a:latin typeface="Gill Sans MT" panose="020B0502020104020203" pitchFamily="34" charset="0"/>
            </a:rPr>
            <a:t>Infant Care</a:t>
          </a:r>
        </a:p>
      </dsp:txBody>
      <dsp:txXfrm>
        <a:off x="0" y="1018814"/>
        <a:ext cx="2389665" cy="1018814"/>
      </dsp:txXfrm>
    </dsp:sp>
    <dsp:sp modelId="{25EAFB26-8EB8-4DB6-9D26-BB862F598463}">
      <dsp:nvSpPr>
        <dsp:cNvPr id="0" name=""/>
        <dsp:cNvSpPr/>
      </dsp:nvSpPr>
      <dsp:spPr>
        <a:xfrm>
          <a:off x="2504008" y="1034732"/>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4. Child Care Plans</a:t>
          </a:r>
        </a:p>
      </dsp:txBody>
      <dsp:txXfrm>
        <a:off x="2504008" y="1034732"/>
        <a:ext cx="5983921" cy="318379"/>
      </dsp:txXfrm>
    </dsp:sp>
    <dsp:sp modelId="{51E4F694-5AE5-468F-85E7-CA16BCCD6604}">
      <dsp:nvSpPr>
        <dsp:cNvPr id="0" name=""/>
        <dsp:cNvSpPr/>
      </dsp:nvSpPr>
      <dsp:spPr>
        <a:xfrm>
          <a:off x="2389665" y="1353112"/>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CB11AB-761F-4EEE-B55B-707C0E863DCA}">
      <dsp:nvSpPr>
        <dsp:cNvPr id="0" name=""/>
        <dsp:cNvSpPr/>
      </dsp:nvSpPr>
      <dsp:spPr>
        <a:xfrm>
          <a:off x="2504008" y="1369031"/>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5. Parent-Child Relationship</a:t>
          </a:r>
        </a:p>
      </dsp:txBody>
      <dsp:txXfrm>
        <a:off x="2504008" y="1369031"/>
        <a:ext cx="5983921" cy="318379"/>
      </dsp:txXfrm>
    </dsp:sp>
    <dsp:sp modelId="{0BBE5728-23A7-4042-A3C1-521CDD0A17AF}">
      <dsp:nvSpPr>
        <dsp:cNvPr id="0" name=""/>
        <dsp:cNvSpPr/>
      </dsp:nvSpPr>
      <dsp:spPr>
        <a:xfrm>
          <a:off x="2389665" y="1687410"/>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7084F6-DC99-4675-9ADF-7027C8EFAEDD}">
      <dsp:nvSpPr>
        <dsp:cNvPr id="0" name=""/>
        <dsp:cNvSpPr/>
      </dsp:nvSpPr>
      <dsp:spPr>
        <a:xfrm>
          <a:off x="2504008" y="1703329"/>
          <a:ext cx="5983921"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6. Management of Infant Crying</a:t>
          </a:r>
        </a:p>
      </dsp:txBody>
      <dsp:txXfrm>
        <a:off x="2504008" y="1703329"/>
        <a:ext cx="5983921" cy="318379"/>
      </dsp:txXfrm>
    </dsp:sp>
    <dsp:sp modelId="{77C08CB1-4533-4778-BD62-CEDCF5984EAB}">
      <dsp:nvSpPr>
        <dsp:cNvPr id="0" name=""/>
        <dsp:cNvSpPr/>
      </dsp:nvSpPr>
      <dsp:spPr>
        <a:xfrm>
          <a:off x="2389665" y="2021709"/>
          <a:ext cx="6098263"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5F643E-81F6-4A62-87EA-06BF0B517603}">
      <dsp:nvSpPr>
        <dsp:cNvPr id="0" name=""/>
        <dsp:cNvSpPr/>
      </dsp:nvSpPr>
      <dsp:spPr>
        <a:xfrm>
          <a:off x="0" y="2037628"/>
          <a:ext cx="849377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881656-B027-460E-B467-CD2B66E321B8}">
      <dsp:nvSpPr>
        <dsp:cNvPr id="0" name=""/>
        <dsp:cNvSpPr/>
      </dsp:nvSpPr>
      <dsp:spPr>
        <a:xfrm>
          <a:off x="0" y="2037628"/>
          <a:ext cx="2397527" cy="1018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solidFill>
                <a:srgbClr val="002060"/>
              </a:solidFill>
              <a:latin typeface="Gill Sans MT" panose="020B0502020104020203" pitchFamily="34" charset="0"/>
            </a:rPr>
            <a:t>Support for a </a:t>
          </a:r>
          <a:br>
            <a:rPr lang="en-US" sz="2000" kern="1200" dirty="0">
              <a:solidFill>
                <a:srgbClr val="002060"/>
              </a:solidFill>
              <a:latin typeface="Gill Sans MT" panose="020B0502020104020203" pitchFamily="34" charset="0"/>
            </a:rPr>
          </a:br>
          <a:r>
            <a:rPr lang="en-US" sz="2000" kern="1200" dirty="0">
              <a:solidFill>
                <a:srgbClr val="002060"/>
              </a:solidFill>
              <a:latin typeface="Gill Sans MT" panose="020B0502020104020203" pitchFamily="34" charset="0"/>
            </a:rPr>
            <a:t>Safe Home</a:t>
          </a:r>
        </a:p>
      </dsp:txBody>
      <dsp:txXfrm>
        <a:off x="0" y="2037628"/>
        <a:ext cx="2397527" cy="1018814"/>
      </dsp:txXfrm>
    </dsp:sp>
    <dsp:sp modelId="{0B8E6471-7D7E-4C93-B640-8AF1D38D8D08}">
      <dsp:nvSpPr>
        <dsp:cNvPr id="0" name=""/>
        <dsp:cNvSpPr/>
      </dsp:nvSpPr>
      <dsp:spPr>
        <a:xfrm>
          <a:off x="2511745" y="2053546"/>
          <a:ext cx="5977409"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7. Household Safety/Material Supports</a:t>
          </a:r>
        </a:p>
      </dsp:txBody>
      <dsp:txXfrm>
        <a:off x="2511745" y="2053546"/>
        <a:ext cx="5977409" cy="318379"/>
      </dsp:txXfrm>
    </dsp:sp>
    <dsp:sp modelId="{DF2A03A3-2D8D-470C-AA3B-BF44658D84CE}">
      <dsp:nvSpPr>
        <dsp:cNvPr id="0" name=""/>
        <dsp:cNvSpPr/>
      </dsp:nvSpPr>
      <dsp:spPr>
        <a:xfrm>
          <a:off x="2397527" y="2371926"/>
          <a:ext cx="609162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8A0ABF-5852-4490-97E8-CED07070552F}">
      <dsp:nvSpPr>
        <dsp:cNvPr id="0" name=""/>
        <dsp:cNvSpPr/>
      </dsp:nvSpPr>
      <dsp:spPr>
        <a:xfrm>
          <a:off x="2511745" y="2387845"/>
          <a:ext cx="5977409"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8. Family and Community Safety</a:t>
          </a:r>
        </a:p>
      </dsp:txBody>
      <dsp:txXfrm>
        <a:off x="2511745" y="2387845"/>
        <a:ext cx="5977409" cy="318379"/>
      </dsp:txXfrm>
    </dsp:sp>
    <dsp:sp modelId="{2FD803F9-7840-4E37-8C4E-0F26C7598EF5}">
      <dsp:nvSpPr>
        <dsp:cNvPr id="0" name=""/>
        <dsp:cNvSpPr/>
      </dsp:nvSpPr>
      <dsp:spPr>
        <a:xfrm>
          <a:off x="2397527" y="2706224"/>
          <a:ext cx="609162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B2EA61-775C-494C-AB7E-EF654122A790}">
      <dsp:nvSpPr>
        <dsp:cNvPr id="0" name=""/>
        <dsp:cNvSpPr/>
      </dsp:nvSpPr>
      <dsp:spPr>
        <a:xfrm>
          <a:off x="2511745" y="2722143"/>
          <a:ext cx="5977409"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9. History with Parenting Difficulties (ACEs)</a:t>
          </a:r>
        </a:p>
      </dsp:txBody>
      <dsp:txXfrm>
        <a:off x="2511745" y="2722143"/>
        <a:ext cx="5977409" cy="318379"/>
      </dsp:txXfrm>
    </dsp:sp>
    <dsp:sp modelId="{8B3C9E3B-BBFA-4CCC-AB6C-14050E0CA1DD}">
      <dsp:nvSpPr>
        <dsp:cNvPr id="0" name=""/>
        <dsp:cNvSpPr/>
      </dsp:nvSpPr>
      <dsp:spPr>
        <a:xfrm>
          <a:off x="2397527" y="3040523"/>
          <a:ext cx="609162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4AFCDA7-A307-4FDB-AD08-74E15F881E20}">
      <dsp:nvSpPr>
        <dsp:cNvPr id="0" name=""/>
        <dsp:cNvSpPr/>
      </dsp:nvSpPr>
      <dsp:spPr>
        <a:xfrm>
          <a:off x="0" y="3056442"/>
          <a:ext cx="8493773"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96D052-38D0-48BF-A8DA-CD746879277B}">
      <dsp:nvSpPr>
        <dsp:cNvPr id="0" name=""/>
        <dsp:cNvSpPr/>
      </dsp:nvSpPr>
      <dsp:spPr>
        <a:xfrm>
          <a:off x="0" y="3056442"/>
          <a:ext cx="2440725" cy="1018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solidFill>
                <a:srgbClr val="002060"/>
              </a:solidFill>
              <a:latin typeface="Gill Sans MT" panose="020B0502020104020203" pitchFamily="34" charset="0"/>
            </a:rPr>
            <a:t>Support for Parent(s)</a:t>
          </a:r>
        </a:p>
      </dsp:txBody>
      <dsp:txXfrm>
        <a:off x="0" y="3056442"/>
        <a:ext cx="2440725" cy="1018814"/>
      </dsp:txXfrm>
    </dsp:sp>
    <dsp:sp modelId="{8CD49625-759E-4D8C-8DDE-EDF2EC375814}">
      <dsp:nvSpPr>
        <dsp:cNvPr id="0" name=""/>
        <dsp:cNvSpPr/>
      </dsp:nvSpPr>
      <dsp:spPr>
        <a:xfrm>
          <a:off x="2554072" y="3072360"/>
          <a:ext cx="5931830"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10. Parent Well Being</a:t>
          </a:r>
        </a:p>
      </dsp:txBody>
      <dsp:txXfrm>
        <a:off x="2554072" y="3072360"/>
        <a:ext cx="5931830" cy="318379"/>
      </dsp:txXfrm>
    </dsp:sp>
    <dsp:sp modelId="{C6A8E45E-043D-42BA-8AFE-D97D463D57B7}">
      <dsp:nvSpPr>
        <dsp:cNvPr id="0" name=""/>
        <dsp:cNvSpPr/>
      </dsp:nvSpPr>
      <dsp:spPr>
        <a:xfrm>
          <a:off x="2440725" y="3390740"/>
          <a:ext cx="604517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C842D7-065E-47EE-B32A-6C0545C0FB35}">
      <dsp:nvSpPr>
        <dsp:cNvPr id="0" name=""/>
        <dsp:cNvSpPr/>
      </dsp:nvSpPr>
      <dsp:spPr>
        <a:xfrm>
          <a:off x="2554072" y="3406659"/>
          <a:ext cx="5931830"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11. Substance Abuse in Household</a:t>
          </a:r>
        </a:p>
      </dsp:txBody>
      <dsp:txXfrm>
        <a:off x="2554072" y="3406659"/>
        <a:ext cx="5931830" cy="318379"/>
      </dsp:txXfrm>
    </dsp:sp>
    <dsp:sp modelId="{DF3F66BF-17DD-45E2-A2A1-2AAF723FB623}">
      <dsp:nvSpPr>
        <dsp:cNvPr id="0" name=""/>
        <dsp:cNvSpPr/>
      </dsp:nvSpPr>
      <dsp:spPr>
        <a:xfrm>
          <a:off x="2440725" y="3725038"/>
          <a:ext cx="604517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011A97B-A169-492D-A7F4-1DBEA187EBD7}">
      <dsp:nvSpPr>
        <dsp:cNvPr id="0" name=""/>
        <dsp:cNvSpPr/>
      </dsp:nvSpPr>
      <dsp:spPr>
        <a:xfrm>
          <a:off x="2554072" y="3740957"/>
          <a:ext cx="5931830" cy="318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solidFill>
                <a:srgbClr val="002060"/>
              </a:solidFill>
              <a:latin typeface="Gill Sans MT" panose="020B0502020104020203" pitchFamily="34" charset="0"/>
            </a:rPr>
            <a:t>12. Parent Emotional Support</a:t>
          </a:r>
        </a:p>
      </dsp:txBody>
      <dsp:txXfrm>
        <a:off x="2554072" y="3740957"/>
        <a:ext cx="5931830" cy="318379"/>
      </dsp:txXfrm>
    </dsp:sp>
    <dsp:sp modelId="{976C0F0A-1FAD-489A-99D8-316E7D906BD2}">
      <dsp:nvSpPr>
        <dsp:cNvPr id="0" name=""/>
        <dsp:cNvSpPr/>
      </dsp:nvSpPr>
      <dsp:spPr>
        <a:xfrm>
          <a:off x="2440725" y="4059337"/>
          <a:ext cx="6045177" cy="0"/>
        </a:xfrm>
        <a:prstGeom prst="line">
          <a:avLst/>
        </a:prstGeom>
        <a:solidFill>
          <a:schemeClr val="accent1">
            <a:hueOff val="0"/>
            <a:satOff val="0"/>
            <a:lumOff val="0"/>
            <a:alphaOff val="0"/>
          </a:schemeClr>
        </a:solidFill>
        <a:ln w="15875"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8B6779-8123-467E-AEE3-0CBFE1E9C473}">
      <dsp:nvSpPr>
        <dsp:cNvPr id="0" name=""/>
        <dsp:cNvSpPr/>
      </dsp:nvSpPr>
      <dsp:spPr>
        <a:xfrm>
          <a:off x="0" y="323803"/>
          <a:ext cx="3566160" cy="16065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6774" tIns="312420" rIns="27677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Poor weight gain</a:t>
          </a:r>
        </a:p>
        <a:p>
          <a:pPr marL="114300" lvl="1" indent="-114300" algn="l" defTabSz="666750">
            <a:lnSpc>
              <a:spcPct val="90000"/>
            </a:lnSpc>
            <a:spcBef>
              <a:spcPct val="0"/>
            </a:spcBef>
            <a:spcAft>
              <a:spcPct val="15000"/>
            </a:spcAft>
            <a:buChar char="•"/>
          </a:pPr>
          <a:r>
            <a:rPr lang="en-US" sz="1500" kern="1200" dirty="0"/>
            <a:t>Heart murmur</a:t>
          </a:r>
        </a:p>
        <a:p>
          <a:pPr marL="114300" lvl="1" indent="-114300" algn="l" defTabSz="666750">
            <a:lnSpc>
              <a:spcPct val="90000"/>
            </a:lnSpc>
            <a:spcBef>
              <a:spcPct val="0"/>
            </a:spcBef>
            <a:spcAft>
              <a:spcPct val="15000"/>
            </a:spcAft>
            <a:buChar char="•"/>
          </a:pPr>
          <a:r>
            <a:rPr lang="en-US" sz="1500" kern="1200" dirty="0"/>
            <a:t>Difficulty breathing</a:t>
          </a:r>
        </a:p>
        <a:p>
          <a:pPr marL="114300" lvl="1" indent="-114300" algn="l" defTabSz="666750">
            <a:lnSpc>
              <a:spcPct val="90000"/>
            </a:lnSpc>
            <a:spcBef>
              <a:spcPct val="0"/>
            </a:spcBef>
            <a:spcAft>
              <a:spcPct val="15000"/>
            </a:spcAft>
            <a:buChar char="•"/>
          </a:pPr>
          <a:r>
            <a:rPr lang="en-US" sz="1500" kern="1200" dirty="0"/>
            <a:t>Unsafe sleep situations</a:t>
          </a:r>
        </a:p>
        <a:p>
          <a:pPr marL="114300" lvl="1" indent="-114300" algn="l" defTabSz="666750">
            <a:lnSpc>
              <a:spcPct val="90000"/>
            </a:lnSpc>
            <a:spcBef>
              <a:spcPct val="0"/>
            </a:spcBef>
            <a:spcAft>
              <a:spcPct val="15000"/>
            </a:spcAft>
            <a:buChar char="•"/>
          </a:pPr>
          <a:r>
            <a:rPr lang="en-US" sz="1500" kern="1200" dirty="0"/>
            <a:t>In-home/virtual lactation support</a:t>
          </a:r>
        </a:p>
      </dsp:txBody>
      <dsp:txXfrm>
        <a:off x="0" y="323803"/>
        <a:ext cx="3566160" cy="1606500"/>
      </dsp:txXfrm>
    </dsp:sp>
    <dsp:sp modelId="{CADA0271-D23C-41BD-9A45-FDCA7B1EA276}">
      <dsp:nvSpPr>
        <dsp:cNvPr id="0" name=""/>
        <dsp:cNvSpPr/>
      </dsp:nvSpPr>
      <dsp:spPr>
        <a:xfrm>
          <a:off x="178308" y="102403"/>
          <a:ext cx="2496312"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4355" tIns="0" rIns="94355" bIns="0" numCol="1" spcCol="1270" anchor="ctr" anchorCtr="0">
          <a:noAutofit/>
        </a:bodyPr>
        <a:lstStyle/>
        <a:p>
          <a:pPr marL="0" lvl="0" indent="0" algn="l" defTabSz="889000">
            <a:lnSpc>
              <a:spcPct val="90000"/>
            </a:lnSpc>
            <a:spcBef>
              <a:spcPct val="0"/>
            </a:spcBef>
            <a:spcAft>
              <a:spcPct val="35000"/>
            </a:spcAft>
            <a:buNone/>
          </a:pPr>
          <a:r>
            <a:rPr lang="en-US" sz="2000" kern="1200" dirty="0"/>
            <a:t>Infant</a:t>
          </a:r>
        </a:p>
      </dsp:txBody>
      <dsp:txXfrm>
        <a:off x="199924" y="124019"/>
        <a:ext cx="2453080" cy="399568"/>
      </dsp:txXfrm>
    </dsp:sp>
    <dsp:sp modelId="{FA396825-08F5-4D1A-A15A-6C3EA022D6C2}">
      <dsp:nvSpPr>
        <dsp:cNvPr id="0" name=""/>
        <dsp:cNvSpPr/>
      </dsp:nvSpPr>
      <dsp:spPr>
        <a:xfrm>
          <a:off x="0" y="2232704"/>
          <a:ext cx="3566160" cy="22680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76774" tIns="312420" rIns="276774"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Blood pressure checks</a:t>
          </a:r>
        </a:p>
        <a:p>
          <a:pPr marL="114300" lvl="1" indent="-114300" algn="l" defTabSz="666750">
            <a:lnSpc>
              <a:spcPct val="90000"/>
            </a:lnSpc>
            <a:spcBef>
              <a:spcPct val="0"/>
            </a:spcBef>
            <a:spcAft>
              <a:spcPct val="15000"/>
            </a:spcAft>
            <a:buChar char="•"/>
          </a:pPr>
          <a:r>
            <a:rPr lang="en-US" sz="1500" kern="1200" dirty="0"/>
            <a:t>Education on symptoms of preeclampsia</a:t>
          </a:r>
        </a:p>
        <a:p>
          <a:pPr marL="114300" lvl="1" indent="-114300" algn="l" defTabSz="666750">
            <a:lnSpc>
              <a:spcPct val="90000"/>
            </a:lnSpc>
            <a:spcBef>
              <a:spcPct val="0"/>
            </a:spcBef>
            <a:spcAft>
              <a:spcPct val="15000"/>
            </a:spcAft>
            <a:buChar char="•"/>
          </a:pPr>
          <a:r>
            <a:rPr lang="en-US" sz="1500" kern="1200" dirty="0"/>
            <a:t>Domestic violence</a:t>
          </a:r>
        </a:p>
        <a:p>
          <a:pPr marL="114300" lvl="1" indent="-114300" algn="l" defTabSz="666750">
            <a:lnSpc>
              <a:spcPct val="90000"/>
            </a:lnSpc>
            <a:spcBef>
              <a:spcPct val="0"/>
            </a:spcBef>
            <a:spcAft>
              <a:spcPct val="15000"/>
            </a:spcAft>
            <a:buChar char="•"/>
          </a:pPr>
          <a:r>
            <a:rPr lang="en-US" sz="1500" kern="1200" dirty="0"/>
            <a:t>Depression</a:t>
          </a:r>
        </a:p>
        <a:p>
          <a:pPr marL="114300" lvl="1" indent="-114300" algn="l" defTabSz="666750">
            <a:lnSpc>
              <a:spcPct val="90000"/>
            </a:lnSpc>
            <a:spcBef>
              <a:spcPct val="0"/>
            </a:spcBef>
            <a:spcAft>
              <a:spcPct val="15000"/>
            </a:spcAft>
            <a:buChar char="•"/>
          </a:pPr>
          <a:r>
            <a:rPr lang="en-US" sz="1500" kern="1200" dirty="0"/>
            <a:t>Incision checks</a:t>
          </a:r>
        </a:p>
        <a:p>
          <a:pPr marL="114300" lvl="1" indent="-114300" algn="l" defTabSz="666750">
            <a:lnSpc>
              <a:spcPct val="90000"/>
            </a:lnSpc>
            <a:spcBef>
              <a:spcPct val="0"/>
            </a:spcBef>
            <a:spcAft>
              <a:spcPct val="15000"/>
            </a:spcAft>
            <a:buChar char="•"/>
          </a:pPr>
          <a:r>
            <a:rPr lang="en-US" sz="1500" kern="1200" dirty="0"/>
            <a:t>Increase trust in the healthcare system</a:t>
          </a:r>
        </a:p>
      </dsp:txBody>
      <dsp:txXfrm>
        <a:off x="0" y="2232704"/>
        <a:ext cx="3566160" cy="2268000"/>
      </dsp:txXfrm>
    </dsp:sp>
    <dsp:sp modelId="{B2510341-BE7A-4C21-BDEA-9CF061EB9739}">
      <dsp:nvSpPr>
        <dsp:cNvPr id="0" name=""/>
        <dsp:cNvSpPr/>
      </dsp:nvSpPr>
      <dsp:spPr>
        <a:xfrm>
          <a:off x="178308" y="2011303"/>
          <a:ext cx="2496312" cy="44280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4355" tIns="0" rIns="94355" bIns="0" numCol="1" spcCol="1270" anchor="ctr" anchorCtr="0">
          <a:noAutofit/>
        </a:bodyPr>
        <a:lstStyle/>
        <a:p>
          <a:pPr marL="0" lvl="0" indent="0" algn="l" defTabSz="889000">
            <a:lnSpc>
              <a:spcPct val="90000"/>
            </a:lnSpc>
            <a:spcBef>
              <a:spcPct val="0"/>
            </a:spcBef>
            <a:spcAft>
              <a:spcPct val="35000"/>
            </a:spcAft>
            <a:buNone/>
          </a:pPr>
          <a:r>
            <a:rPr lang="en-US" sz="2000" kern="1200" dirty="0"/>
            <a:t>Maternal</a:t>
          </a:r>
        </a:p>
      </dsp:txBody>
      <dsp:txXfrm>
        <a:off x="199924" y="2032919"/>
        <a:ext cx="2453080" cy="399568"/>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EBB586-2CF5-4D29-833A-57D6283FDEF7}" type="datetimeFigureOut">
              <a:t>5/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83A75A-6C44-4448-8BBF-4B6021CFF996}" type="slidenum">
              <a:t>‹#›</a:t>
            </a:fld>
            <a:endParaRPr lang="en-US"/>
          </a:p>
        </p:txBody>
      </p:sp>
    </p:spTree>
    <p:extLst>
      <p:ext uri="{BB962C8B-B14F-4D97-AF65-F5344CB8AC3E}">
        <p14:creationId xmlns:p14="http://schemas.microsoft.com/office/powerpoint/2010/main" val="122267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7"/>
        <p:cNvGrpSpPr/>
        <p:nvPr/>
      </p:nvGrpSpPr>
      <p:grpSpPr>
        <a:xfrm>
          <a:off x="0" y="0"/>
          <a:ext cx="0" cy="0"/>
          <a:chOff x="0" y="0"/>
          <a:chExt cx="0" cy="0"/>
        </a:xfrm>
      </p:grpSpPr>
      <p:sp>
        <p:nvSpPr>
          <p:cNvPr id="1508" name="Google Shape;150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Ann to introduce Corliss</a:t>
            </a:r>
            <a:endParaRPr dirty="0"/>
          </a:p>
        </p:txBody>
      </p:sp>
      <p:sp>
        <p:nvSpPr>
          <p:cNvPr id="1509" name="Google Shape;150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9513" cy="3521075"/>
          </a:xfrm>
        </p:spPr>
      </p:sp>
      <p:sp>
        <p:nvSpPr>
          <p:cNvPr id="3" name="Notes Placeholder 2"/>
          <p:cNvSpPr>
            <a:spLocks noGrp="1"/>
          </p:cNvSpPr>
          <p:nvPr>
            <p:ph type="body" idx="1"/>
          </p:nvPr>
        </p:nvSpPr>
        <p:spPr/>
        <p:txBody>
          <a:bodyPr/>
          <a:lstStyle/>
          <a:p>
            <a:r>
              <a:rPr lang="en-US" dirty="0"/>
              <a:t>The Family Connects model is an evidence-based approach to supporting newborns and their families.</a:t>
            </a:r>
          </a:p>
          <a:p>
            <a:endParaRPr lang="en-US" dirty="0"/>
          </a:p>
          <a:p>
            <a:r>
              <a:rPr lang="en-US" baseline="0" dirty="0"/>
              <a:t>The program is available to all families in a given community regardless of income or background. This approach reduces stigma and focuses </a:t>
            </a:r>
            <a:r>
              <a:rPr lang="en-US" dirty="0"/>
              <a:t>on infants, families, and communities to address unmet needs and to identify critical gaps in the early childhood system to create population-level impact.</a:t>
            </a:r>
          </a:p>
          <a:p>
            <a:endParaRPr lang="en-US" baseline="0" dirty="0"/>
          </a:p>
          <a:p>
            <a:r>
              <a:rPr lang="en-US" baseline="0" dirty="0"/>
              <a:t>The program is voluntary and is no cost to recipients. The goal is for Family Connects to become part of a community’s system of care for children and families. </a:t>
            </a:r>
          </a:p>
          <a:p>
            <a:endParaRPr lang="en-US" baseline="0" dirty="0"/>
          </a:p>
          <a:p>
            <a:r>
              <a:rPr lang="en-US" baseline="0" dirty="0"/>
              <a:t>Visits are scheduled around three weeks after a baby’s birth. The visit takes place in the family’s home and is made by a highly trained registered nurse. Nurses are trusted professionals whose skillset is necessary for the medical component of the home visit such as taking mother and child vitals and examining the infant. </a:t>
            </a:r>
            <a:endParaRPr lang="en-US" dirty="0"/>
          </a:p>
        </p:txBody>
      </p:sp>
      <p:sp>
        <p:nvSpPr>
          <p:cNvPr id="4" name="Slide Number Placeholder 3"/>
          <p:cNvSpPr>
            <a:spLocks noGrp="1"/>
          </p:cNvSpPr>
          <p:nvPr>
            <p:ph type="sldNum" sz="quarter" idx="10"/>
          </p:nvPr>
        </p:nvSpPr>
        <p:spPr/>
        <p:txBody>
          <a:bodyPr/>
          <a:lstStyle/>
          <a:p>
            <a:pPr defTabSz="461635">
              <a:defRPr/>
            </a:pPr>
            <a:fld id="{68E5C84B-03E6-4857-B59F-2D59A84E94CB}" type="slidenum">
              <a:rPr lang="en-US">
                <a:solidFill>
                  <a:prstClr val="black"/>
                </a:solidFill>
                <a:latin typeface="Calibri" panose="020F0502020204030204"/>
              </a:rPr>
              <a:pPr defTabSz="461635">
                <a:defRPr/>
              </a:pPr>
              <a:t>3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014336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Family Connects is more than a home visit.  </a:t>
            </a:r>
          </a:p>
          <a:p>
            <a:endParaRPr lang="en-US" dirty="0"/>
          </a:p>
          <a:p>
            <a:r>
              <a:rPr lang="en-US" dirty="0"/>
              <a:t>It is designed to provide individual family support AND build a comprehensive system of support for all families.</a:t>
            </a:r>
          </a:p>
          <a:p>
            <a:endParaRPr lang="en-US" dirty="0"/>
          </a:p>
          <a:p>
            <a:r>
              <a:rPr lang="en-US" dirty="0"/>
              <a:t>Data from the home visits is compiled (keeping all families’ individual information private and protected) to better understand:</a:t>
            </a:r>
          </a:p>
          <a:p>
            <a:pPr marL="171450" indent="-171450">
              <a:buFontTx/>
              <a:buChar char="-"/>
            </a:pPr>
            <a:r>
              <a:rPr lang="en-US" dirty="0"/>
              <a:t>the needs of families</a:t>
            </a:r>
          </a:p>
          <a:p>
            <a:pPr marL="171450" indent="-171450">
              <a:buFontTx/>
              <a:buChar char="-"/>
            </a:pPr>
            <a:r>
              <a:rPr lang="en-US" dirty="0"/>
              <a:t>what services are available to meet those needs</a:t>
            </a:r>
          </a:p>
          <a:p>
            <a:pPr marL="171450" indent="-171450">
              <a:buFontTx/>
              <a:buChar char="-"/>
            </a:pPr>
            <a:r>
              <a:rPr lang="en-US" dirty="0"/>
              <a:t>whether families can access those services</a:t>
            </a:r>
          </a:p>
          <a:p>
            <a:pPr marL="171450" indent="-171450">
              <a:buFontTx/>
              <a:buChar char="-"/>
            </a:pPr>
            <a:r>
              <a:rPr lang="en-US" dirty="0"/>
              <a:t>Where the gaps are  - attending to the inequities </a:t>
            </a:r>
          </a:p>
          <a:p>
            <a:pPr marL="171450" indent="-171450">
              <a:buFontTx/>
              <a:buChar char="-"/>
            </a:pPr>
            <a:endParaRPr lang="en-US" dirty="0"/>
          </a:p>
          <a:p>
            <a:pPr marL="0" indent="0">
              <a:buFontTx/>
              <a:buNone/>
            </a:pPr>
            <a:r>
              <a:rPr lang="en-US" dirty="0"/>
              <a:t>This data is shared with a network of community alignment boards (in other cities, one board:  Chicago innovation is 6 regionals):</a:t>
            </a:r>
          </a:p>
          <a:p>
            <a:pPr marL="171450" indent="-171450">
              <a:buFontTx/>
              <a:buChar char="-"/>
            </a:pPr>
            <a:r>
              <a:rPr lang="en-US" dirty="0"/>
              <a:t>People with lived experience</a:t>
            </a:r>
          </a:p>
          <a:p>
            <a:pPr marL="171450" indent="-171450">
              <a:buFontTx/>
              <a:buChar char="-"/>
            </a:pPr>
            <a:r>
              <a:rPr lang="en-US" dirty="0"/>
              <a:t>Health care providers</a:t>
            </a:r>
          </a:p>
          <a:p>
            <a:pPr marL="171450" indent="-171450">
              <a:buFontTx/>
              <a:buChar char="-"/>
            </a:pPr>
            <a:r>
              <a:rPr lang="en-US" dirty="0"/>
              <a:t>Social and human service providers (like housing orgs, workforce, intensive home visiting, WIC and other orgs addressing food insecurity – support for the social determinants of health)</a:t>
            </a:r>
          </a:p>
          <a:p>
            <a:pPr marL="171450" indent="-171450">
              <a:buFontTx/>
              <a:buChar char="-"/>
            </a:pPr>
            <a:r>
              <a:rPr lang="en-US" dirty="0"/>
              <a:t>Early childhood </a:t>
            </a:r>
          </a:p>
          <a:p>
            <a:pPr marL="0" indent="0">
              <a:buFontTx/>
              <a:buNone/>
            </a:pPr>
            <a:r>
              <a:rPr lang="en-US" dirty="0"/>
              <a:t>Who do the work of reviewing the data, identifying additional community services, building shared knowledge about these services, advocating to fill gaps,</a:t>
            </a:r>
          </a:p>
          <a:p>
            <a:pPr marL="0" indent="0">
              <a:buFontTx/>
              <a:buNone/>
            </a:pPr>
            <a:endParaRPr lang="en-US" dirty="0"/>
          </a:p>
          <a:p>
            <a:pPr marL="0" indent="0">
              <a:buFontTx/>
              <a:buNone/>
            </a:pPr>
            <a:r>
              <a:rPr lang="en-US" dirty="0"/>
              <a:t>By offering the service to all families and doing the work of community alignment – we are able to address health at a population level</a:t>
            </a:r>
          </a:p>
          <a:p>
            <a:pPr marL="171450" indent="-171450">
              <a:buFontTx/>
              <a:buChar char="-"/>
            </a:pPr>
            <a:endParaRPr lang="en-US" dirty="0"/>
          </a:p>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3E56DB-C4F5-4CB4-B658-D50785276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177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font larger</a:t>
            </a:r>
          </a:p>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40</a:t>
            </a:fld>
            <a:endParaRPr lang="en-US"/>
          </a:p>
        </p:txBody>
      </p:sp>
    </p:spTree>
    <p:extLst>
      <p:ext uri="{BB962C8B-B14F-4D97-AF65-F5344CB8AC3E}">
        <p14:creationId xmlns:p14="http://schemas.microsoft.com/office/powerpoint/2010/main" val="2463350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9513"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42</a:t>
            </a:fld>
            <a:endParaRPr lang="en-US" dirty="0"/>
          </a:p>
        </p:txBody>
      </p:sp>
    </p:spTree>
    <p:extLst>
      <p:ext uri="{BB962C8B-B14F-4D97-AF65-F5344CB8AC3E}">
        <p14:creationId xmlns:p14="http://schemas.microsoft.com/office/powerpoint/2010/main" val="3565834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4499">
              <a:defRPr/>
            </a:pPr>
            <a:r>
              <a:rPr lang="en-US" altLang="en-US" sz="1400" dirty="0"/>
              <a:t>FC- Krysta</a:t>
            </a:r>
          </a:p>
          <a:p>
            <a:pPr defTabSz="474499">
              <a:defRPr/>
            </a:pPr>
            <a:endParaRPr lang="en-US" sz="1300" dirty="0">
              <a:solidFill>
                <a:schemeClr val="tx2"/>
              </a:solidFill>
              <a:latin typeface="Cambria Math" charset="0"/>
              <a:ea typeface="Cambria Math" charset="0"/>
              <a:cs typeface="Cambria Math" charset="0"/>
            </a:endParaRPr>
          </a:p>
          <a:p>
            <a:pPr defTabSz="474499">
              <a:defRPr/>
            </a:pPr>
            <a:endParaRPr lang="en-US" sz="1300" dirty="0">
              <a:solidFill>
                <a:schemeClr val="tx2"/>
              </a:solidFill>
              <a:latin typeface="Cambria Math" charset="0"/>
              <a:ea typeface="Cambria Math" charset="0"/>
              <a:cs typeface="Cambria Math" charset="0"/>
            </a:endParaRPr>
          </a:p>
          <a:p>
            <a:pPr defTabSz="474499">
              <a:defRPr/>
            </a:pPr>
            <a:r>
              <a:rPr lang="en-US" sz="1300" dirty="0">
                <a:solidFill>
                  <a:schemeClr val="tx2"/>
                </a:solidFill>
                <a:latin typeface="Cambria Math" charset="0"/>
                <a:ea typeface="Cambria Math" charset="0"/>
                <a:cs typeface="Cambria Math" charset="0"/>
              </a:rPr>
              <a:t>The IHV follows a detailed protocol: </a:t>
            </a:r>
            <a:r>
              <a:rPr lang="en-US" sz="1300" i="1" dirty="0">
                <a:solidFill>
                  <a:schemeClr val="tx2"/>
                </a:solidFill>
                <a:latin typeface="Cambria Math" charset="0"/>
                <a:ea typeface="Cambria Math" charset="0"/>
                <a:cs typeface="Cambria Math" charset="0"/>
              </a:rPr>
              <a:t>The Family Support Matrix</a:t>
            </a:r>
            <a:r>
              <a:rPr lang="en-US" sz="1300" dirty="0">
                <a:solidFill>
                  <a:schemeClr val="tx2"/>
                </a:solidFill>
                <a:latin typeface="Cambria Math" charset="0"/>
                <a:ea typeface="Cambria Math" charset="0"/>
                <a:cs typeface="Cambria Math" charset="0"/>
              </a:rPr>
              <a:t>  to assess 12 factors predictive of child and family well-being.</a:t>
            </a:r>
          </a:p>
          <a:p>
            <a:endParaRPr lang="en-US" dirty="0"/>
          </a:p>
        </p:txBody>
      </p:sp>
      <p:sp>
        <p:nvSpPr>
          <p:cNvPr id="4" name="Slide Number Placeholder 3"/>
          <p:cNvSpPr>
            <a:spLocks noGrp="1"/>
          </p:cNvSpPr>
          <p:nvPr>
            <p:ph type="sldNum" sz="quarter" idx="10"/>
          </p:nvPr>
        </p:nvSpPr>
        <p:spPr/>
        <p:txBody>
          <a:bodyPr/>
          <a:lstStyle/>
          <a:p>
            <a:fld id="{14E87E75-A1E6-BD4D-9BD7-3E1E1688F5BD}" type="slidenum">
              <a:rPr lang="en-US" smtClean="0"/>
              <a:pPr/>
              <a:t>43</a:t>
            </a:fld>
            <a:endParaRPr lang="en-US" dirty="0"/>
          </a:p>
        </p:txBody>
      </p:sp>
    </p:spTree>
    <p:extLst>
      <p:ext uri="{BB962C8B-B14F-4D97-AF65-F5344CB8AC3E}">
        <p14:creationId xmlns:p14="http://schemas.microsoft.com/office/powerpoint/2010/main" val="3947088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6" name="Google Shape;155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a:p>
            <a:pPr marL="0" lvl="0" indent="0" algn="l" rtl="0">
              <a:spcBef>
                <a:spcPts val="0"/>
              </a:spcBef>
              <a:spcAft>
                <a:spcPts val="0"/>
              </a:spcAft>
              <a:buNone/>
            </a:pPr>
            <a:r>
              <a:rPr lang="en-US" dirty="0"/>
              <a:t>Corliss introduce</a:t>
            </a:r>
            <a:r>
              <a:rPr lang="en-US" baseline="0" dirty="0"/>
              <a:t> panelists </a:t>
            </a:r>
            <a:r>
              <a:rPr lang="en-US" baseline="0" dirty="0">
                <a:sym typeface="Wingdings" panose="05000000000000000000" pitchFamily="2" charset="2"/>
              </a:rPr>
              <a:t> </a:t>
            </a:r>
            <a:endParaRPr dirty="0"/>
          </a:p>
        </p:txBody>
      </p:sp>
      <p:sp>
        <p:nvSpPr>
          <p:cNvPr id="1557" name="Google Shape;155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3</a:t>
            </a:fld>
            <a:endParaRPr lang="en-US"/>
          </a:p>
        </p:txBody>
      </p:sp>
    </p:spTree>
    <p:extLst>
      <p:ext uri="{BB962C8B-B14F-4D97-AF65-F5344CB8AC3E}">
        <p14:creationId xmlns:p14="http://schemas.microsoft.com/office/powerpoint/2010/main" val="93094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7</a:t>
            </a:fld>
            <a:endParaRPr lang="en-US"/>
          </a:p>
        </p:txBody>
      </p:sp>
    </p:spTree>
    <p:extLst>
      <p:ext uri="{BB962C8B-B14F-4D97-AF65-F5344CB8AC3E}">
        <p14:creationId xmlns:p14="http://schemas.microsoft.com/office/powerpoint/2010/main" val="2752619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21</a:t>
            </a:fld>
            <a:endParaRPr lang="en-US"/>
          </a:p>
        </p:txBody>
      </p:sp>
    </p:spTree>
    <p:extLst>
      <p:ext uri="{BB962C8B-B14F-4D97-AF65-F5344CB8AC3E}">
        <p14:creationId xmlns:p14="http://schemas.microsoft.com/office/powerpoint/2010/main" val="422133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Standard title slide.</a:t>
            </a:r>
          </a:p>
        </p:txBody>
      </p:sp>
      <p:sp>
        <p:nvSpPr>
          <p:cNvPr id="4" name="Slide Number Placeholder 3"/>
          <p:cNvSpPr>
            <a:spLocks noGrp="1"/>
          </p:cNvSpPr>
          <p:nvPr>
            <p:ph type="sldNum" sz="quarter" idx="10"/>
          </p:nvPr>
        </p:nvSpPr>
        <p:spPr/>
        <p:txBody>
          <a:bodyPr/>
          <a:lstStyle/>
          <a:p>
            <a:fld id="{A163C6DC-2E50-448A-A515-B7C1EBDA1446}" type="slidenum">
              <a:rPr lang="en-MY" smtClean="0"/>
              <a:t>22</a:t>
            </a:fld>
            <a:endParaRPr lang="en-MY" dirty="0"/>
          </a:p>
        </p:txBody>
      </p:sp>
    </p:spTree>
    <p:extLst>
      <p:ext uri="{BB962C8B-B14F-4D97-AF65-F5344CB8AC3E}">
        <p14:creationId xmlns:p14="http://schemas.microsoft.com/office/powerpoint/2010/main" val="2723480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33</a:t>
            </a:fld>
            <a:endParaRPr lang="en-US"/>
          </a:p>
        </p:txBody>
      </p:sp>
    </p:spTree>
    <p:extLst>
      <p:ext uri="{BB962C8B-B14F-4D97-AF65-F5344CB8AC3E}">
        <p14:creationId xmlns:p14="http://schemas.microsoft.com/office/powerpoint/2010/main" val="1928470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Women experiencing severe maternal morbidity were more likely to have been living in areas with high economic hardship</a:t>
            </a:r>
          </a:p>
          <a:p>
            <a:endParaRPr lang="en-US" dirty="0"/>
          </a:p>
        </p:txBody>
      </p:sp>
      <p:sp>
        <p:nvSpPr>
          <p:cNvPr id="4" name="Slide Number Placeholder 3"/>
          <p:cNvSpPr>
            <a:spLocks noGrp="1"/>
          </p:cNvSpPr>
          <p:nvPr>
            <p:ph type="sldNum" sz="quarter" idx="5"/>
          </p:nvPr>
        </p:nvSpPr>
        <p:spPr/>
        <p:txBody>
          <a:bodyPr/>
          <a:lstStyle/>
          <a:p>
            <a:fld id="{20DC24E3-BDFB-4C1B-9D5A-BEADFF9DD7C1}" type="slidenum">
              <a:rPr lang="en-US" smtClean="0"/>
              <a:t>35</a:t>
            </a:fld>
            <a:endParaRPr lang="en-US"/>
          </a:p>
        </p:txBody>
      </p:sp>
    </p:spTree>
    <p:extLst>
      <p:ext uri="{BB962C8B-B14F-4D97-AF65-F5344CB8AC3E}">
        <p14:creationId xmlns:p14="http://schemas.microsoft.com/office/powerpoint/2010/main" val="1334498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called “medical model” focuses on individuals and pathology. What is the disease and how can we fix it.  </a:t>
            </a:r>
          </a:p>
          <a:p>
            <a:r>
              <a:rPr lang="en-US" dirty="0"/>
              <a:t>We have been working to embrace a </a:t>
            </a:r>
            <a:r>
              <a:rPr lang="en-US" dirty="0" err="1"/>
              <a:t>lifecourse</a:t>
            </a:r>
            <a:r>
              <a:rPr lang="en-US" dirty="0"/>
              <a:t> view, and this requires a shift in our perspective – from the problem to the person. </a:t>
            </a:r>
          </a:p>
          <a:p>
            <a:r>
              <a:rPr lang="en-US" dirty="0"/>
              <a:t>So what does a person’s perinatal journey look like in our system?  This is how we broke it down.</a:t>
            </a:r>
          </a:p>
          <a:p>
            <a:r>
              <a:rPr lang="en-US" dirty="0"/>
              <a:t>Our system wasn’t meeting needs – it was exacerbating them.</a:t>
            </a:r>
          </a:p>
          <a:p>
            <a:r>
              <a:rPr lang="en-US" dirty="0"/>
              <a:t>Systemic problems that worsen outcomes: 1) Historical bias, 2) Competing interests, 3) Structural racism, 4) Zero-sum mentality, 5) A pandem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E34A6-50C0-424E-876F-EBFA507092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11629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jp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50.emf"/><Relationship Id="rId4" Type="http://schemas.openxmlformats.org/officeDocument/2006/relationships/oleObject" Target="../embeddings/oleObject2.bin"/></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7.jpeg"/><Relationship Id="rId1" Type="http://schemas.openxmlformats.org/officeDocument/2006/relationships/slideMaster" Target="../slideMasters/slideMaster3.xml"/><Relationship Id="rId4" Type="http://schemas.openxmlformats.org/officeDocument/2006/relationships/image" Target="../media/image58.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9.jpeg"/><Relationship Id="rId1" Type="http://schemas.openxmlformats.org/officeDocument/2006/relationships/slideMaster" Target="../slideMasters/slideMaster3.xml"/><Relationship Id="rId4" Type="http://schemas.openxmlformats.org/officeDocument/2006/relationships/image" Target="../media/image58.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98"/>
        <p:cNvGrpSpPr/>
        <p:nvPr/>
      </p:nvGrpSpPr>
      <p:grpSpPr>
        <a:xfrm>
          <a:off x="0" y="0"/>
          <a:ext cx="0" cy="0"/>
          <a:chOff x="0" y="0"/>
          <a:chExt cx="0" cy="0"/>
        </a:xfrm>
      </p:grpSpPr>
      <p:grpSp>
        <p:nvGrpSpPr>
          <p:cNvPr id="899" name="Google Shape;899;p91"/>
          <p:cNvGrpSpPr/>
          <p:nvPr/>
        </p:nvGrpSpPr>
        <p:grpSpPr>
          <a:xfrm>
            <a:off x="0" y="0"/>
            <a:ext cx="12192000" cy="2148830"/>
            <a:chOff x="0" y="0"/>
            <a:chExt cx="12192000" cy="2148830"/>
          </a:xfrm>
        </p:grpSpPr>
        <p:sp>
          <p:nvSpPr>
            <p:cNvPr id="900" name="Google Shape;900;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1" name="Google Shape;901;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02" name="Google Shape;902;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 name="Google Shape;903;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5" name="Google Shape;905;p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6" name="Google Shape;906;p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907"/>
        <p:cNvGrpSpPr/>
        <p:nvPr/>
      </p:nvGrpSpPr>
      <p:grpSpPr>
        <a:xfrm>
          <a:off x="0" y="0"/>
          <a:ext cx="0" cy="0"/>
          <a:chOff x="0" y="0"/>
          <a:chExt cx="0" cy="0"/>
        </a:xfrm>
      </p:grpSpPr>
      <p:sp>
        <p:nvSpPr>
          <p:cNvPr id="908" name="Google Shape;908;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11" name="Google Shape;911;p92"/>
          <p:cNvGrpSpPr/>
          <p:nvPr/>
        </p:nvGrpSpPr>
        <p:grpSpPr>
          <a:xfrm>
            <a:off x="7191542" y="1"/>
            <a:ext cx="5000459" cy="1425992"/>
            <a:chOff x="7191542" y="1"/>
            <a:chExt cx="5000459" cy="1425992"/>
          </a:xfrm>
        </p:grpSpPr>
        <p:pic>
          <p:nvPicPr>
            <p:cNvPr id="912" name="Google Shape;912;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3" name="Google Shape;913;p92"/>
            <p:cNvGrpSpPr/>
            <p:nvPr/>
          </p:nvGrpSpPr>
          <p:grpSpPr>
            <a:xfrm>
              <a:off x="7191542" y="1"/>
              <a:ext cx="5000459" cy="1425992"/>
              <a:chOff x="7186272" y="0"/>
              <a:chExt cx="5005729" cy="1427495"/>
            </a:xfrm>
          </p:grpSpPr>
          <p:sp>
            <p:nvSpPr>
              <p:cNvPr id="914" name="Google Shape;914;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5" name="Google Shape;915;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916"/>
        <p:cNvGrpSpPr/>
        <p:nvPr/>
      </p:nvGrpSpPr>
      <p:grpSpPr>
        <a:xfrm>
          <a:off x="0" y="0"/>
          <a:ext cx="0" cy="0"/>
          <a:chOff x="0" y="0"/>
          <a:chExt cx="0" cy="0"/>
        </a:xfrm>
      </p:grpSpPr>
      <p:sp>
        <p:nvSpPr>
          <p:cNvPr id="917" name="Google Shape;917;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 name="Google Shape;920;p93"/>
          <p:cNvSpPr>
            <a:spLocks noGrp="1"/>
          </p:cNvSpPr>
          <p:nvPr>
            <p:ph type="pic" idx="2"/>
          </p:nvPr>
        </p:nvSpPr>
        <p:spPr>
          <a:xfrm>
            <a:off x="7118684" y="233915"/>
            <a:ext cx="5073316" cy="5943600"/>
          </a:xfrm>
          <a:prstGeom prst="rect">
            <a:avLst/>
          </a:prstGeom>
          <a:noFill/>
          <a:ln>
            <a:noFill/>
          </a:ln>
        </p:spPr>
      </p:sp>
      <p:grpSp>
        <p:nvGrpSpPr>
          <p:cNvPr id="921" name="Google Shape;921;p93"/>
          <p:cNvGrpSpPr/>
          <p:nvPr/>
        </p:nvGrpSpPr>
        <p:grpSpPr>
          <a:xfrm>
            <a:off x="0" y="5020348"/>
            <a:ext cx="12192000" cy="1837653"/>
            <a:chOff x="0" y="5020348"/>
            <a:chExt cx="12192000" cy="1837653"/>
          </a:xfrm>
        </p:grpSpPr>
        <p:sp>
          <p:nvSpPr>
            <p:cNvPr id="922" name="Google Shape;922;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925"/>
        <p:cNvGrpSpPr/>
        <p:nvPr/>
      </p:nvGrpSpPr>
      <p:grpSpPr>
        <a:xfrm>
          <a:off x="0" y="0"/>
          <a:ext cx="0" cy="0"/>
          <a:chOff x="0" y="0"/>
          <a:chExt cx="0" cy="0"/>
        </a:xfrm>
      </p:grpSpPr>
      <p:grpSp>
        <p:nvGrpSpPr>
          <p:cNvPr id="926" name="Google Shape;926;p94"/>
          <p:cNvGrpSpPr/>
          <p:nvPr/>
        </p:nvGrpSpPr>
        <p:grpSpPr>
          <a:xfrm>
            <a:off x="0" y="5020347"/>
            <a:ext cx="12192000" cy="1837653"/>
            <a:chOff x="0" y="5020347"/>
            <a:chExt cx="12192000" cy="1837653"/>
          </a:xfrm>
        </p:grpSpPr>
        <p:sp>
          <p:nvSpPr>
            <p:cNvPr id="927" name="Google Shape;927;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8" name="Google Shape;92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30" name="Google Shape;93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1" name="Google Shape;931;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933"/>
        <p:cNvGrpSpPr/>
        <p:nvPr/>
      </p:nvGrpSpPr>
      <p:grpSpPr>
        <a:xfrm>
          <a:off x="0" y="0"/>
          <a:ext cx="0" cy="0"/>
          <a:chOff x="0" y="0"/>
          <a:chExt cx="0" cy="0"/>
        </a:xfrm>
      </p:grpSpPr>
      <p:sp>
        <p:nvSpPr>
          <p:cNvPr id="934" name="Google Shape;934;p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5" name="Google Shape;935;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6" name="Google Shape;936;p95"/>
          <p:cNvGrpSpPr/>
          <p:nvPr/>
        </p:nvGrpSpPr>
        <p:grpSpPr>
          <a:xfrm>
            <a:off x="0" y="5379426"/>
            <a:ext cx="2807368" cy="753891"/>
            <a:chOff x="0" y="5379426"/>
            <a:chExt cx="2807368" cy="753891"/>
          </a:xfrm>
        </p:grpSpPr>
        <p:sp>
          <p:nvSpPr>
            <p:cNvPr id="937" name="Google Shape;937;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39" name="Google Shape;939;p95"/>
          <p:cNvSpPr>
            <a:spLocks noGrp="1"/>
          </p:cNvSpPr>
          <p:nvPr>
            <p:ph type="pic" idx="2"/>
          </p:nvPr>
        </p:nvSpPr>
        <p:spPr>
          <a:xfrm>
            <a:off x="2807368" y="457202"/>
            <a:ext cx="8915400" cy="5943598"/>
          </a:xfrm>
          <a:prstGeom prst="rect">
            <a:avLst/>
          </a:prstGeom>
          <a:noFill/>
          <a:ln>
            <a:noFill/>
          </a:ln>
        </p:spPr>
      </p:sp>
      <p:pic>
        <p:nvPicPr>
          <p:cNvPr id="940" name="Google Shape;940;p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941"/>
        <p:cNvGrpSpPr/>
        <p:nvPr/>
      </p:nvGrpSpPr>
      <p:grpSpPr>
        <a:xfrm>
          <a:off x="0" y="0"/>
          <a:ext cx="0" cy="0"/>
          <a:chOff x="0" y="0"/>
          <a:chExt cx="0" cy="0"/>
        </a:xfrm>
      </p:grpSpPr>
      <p:sp>
        <p:nvSpPr>
          <p:cNvPr id="942" name="Google Shape;94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3" name="Google Shape;94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4" name="Google Shape;94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 name="Google Shape;94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96"/>
          <p:cNvGrpSpPr/>
          <p:nvPr/>
        </p:nvGrpSpPr>
        <p:grpSpPr>
          <a:xfrm>
            <a:off x="7191542" y="1"/>
            <a:ext cx="5000459" cy="1425992"/>
            <a:chOff x="7191542" y="1"/>
            <a:chExt cx="5000459" cy="1425992"/>
          </a:xfrm>
        </p:grpSpPr>
        <p:pic>
          <p:nvPicPr>
            <p:cNvPr id="949" name="Google Shape;949;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96"/>
            <p:cNvGrpSpPr/>
            <p:nvPr/>
          </p:nvGrpSpPr>
          <p:grpSpPr>
            <a:xfrm>
              <a:off x="7191542" y="1"/>
              <a:ext cx="5000459" cy="1425992"/>
              <a:chOff x="7186272" y="0"/>
              <a:chExt cx="5005729" cy="1427495"/>
            </a:xfrm>
          </p:grpSpPr>
          <p:sp>
            <p:nvSpPr>
              <p:cNvPr id="951" name="Google Shape;95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3" name="Google Shape;953;p9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54"/>
        <p:cNvGrpSpPr/>
        <p:nvPr/>
      </p:nvGrpSpPr>
      <p:grpSpPr>
        <a:xfrm>
          <a:off x="0" y="0"/>
          <a:ext cx="0" cy="0"/>
          <a:chOff x="0" y="0"/>
          <a:chExt cx="0" cy="0"/>
        </a:xfrm>
      </p:grpSpPr>
      <p:grpSp>
        <p:nvGrpSpPr>
          <p:cNvPr id="955" name="Google Shape;955;p97"/>
          <p:cNvGrpSpPr/>
          <p:nvPr/>
        </p:nvGrpSpPr>
        <p:grpSpPr>
          <a:xfrm>
            <a:off x="7191542" y="1"/>
            <a:ext cx="5000459" cy="1425992"/>
            <a:chOff x="7191542" y="1"/>
            <a:chExt cx="5000459" cy="1425992"/>
          </a:xfrm>
        </p:grpSpPr>
        <p:pic>
          <p:nvPicPr>
            <p:cNvPr id="956" name="Google Shape;956;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 name="Google Shape;957;p97"/>
            <p:cNvGrpSpPr/>
            <p:nvPr/>
          </p:nvGrpSpPr>
          <p:grpSpPr>
            <a:xfrm>
              <a:off x="7191542" y="1"/>
              <a:ext cx="5000459" cy="1425992"/>
              <a:chOff x="7186272" y="0"/>
              <a:chExt cx="5005729" cy="1427495"/>
            </a:xfrm>
          </p:grpSpPr>
          <p:sp>
            <p:nvSpPr>
              <p:cNvPr id="958" name="Google Shape;95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60" name="Google Shape;96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 name="Google Shape;96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2" name="Google Shape;96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 name="Google Shape;96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 name="Google Shape;96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965"/>
        <p:cNvGrpSpPr/>
        <p:nvPr/>
      </p:nvGrpSpPr>
      <p:grpSpPr>
        <a:xfrm>
          <a:off x="0" y="0"/>
          <a:ext cx="0" cy="0"/>
          <a:chOff x="0" y="0"/>
          <a:chExt cx="0" cy="0"/>
        </a:xfrm>
      </p:grpSpPr>
      <p:sp>
        <p:nvSpPr>
          <p:cNvPr id="966" name="Google Shape;96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 name="Google Shape;96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8" name="Google Shape;968;p98"/>
          <p:cNvGrpSpPr/>
          <p:nvPr/>
        </p:nvGrpSpPr>
        <p:grpSpPr>
          <a:xfrm>
            <a:off x="7191542" y="1"/>
            <a:ext cx="5000459" cy="1425992"/>
            <a:chOff x="7191542" y="1"/>
            <a:chExt cx="5000459" cy="1425992"/>
          </a:xfrm>
        </p:grpSpPr>
        <p:pic>
          <p:nvPicPr>
            <p:cNvPr id="969" name="Google Shape;969;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 name="Google Shape;970;p98"/>
            <p:cNvGrpSpPr/>
            <p:nvPr/>
          </p:nvGrpSpPr>
          <p:grpSpPr>
            <a:xfrm>
              <a:off x="7191542" y="1"/>
              <a:ext cx="5000459" cy="1425992"/>
              <a:chOff x="7186272" y="0"/>
              <a:chExt cx="5005729" cy="1427495"/>
            </a:xfrm>
          </p:grpSpPr>
          <p:sp>
            <p:nvSpPr>
              <p:cNvPr id="971" name="Google Shape;97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2" name="Google Shape;97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73" name="Google Shape;97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77"/>
        <p:cNvGrpSpPr/>
        <p:nvPr/>
      </p:nvGrpSpPr>
      <p:grpSpPr>
        <a:xfrm>
          <a:off x="0" y="0"/>
          <a:ext cx="0" cy="0"/>
          <a:chOff x="0" y="0"/>
          <a:chExt cx="0" cy="0"/>
        </a:xfrm>
      </p:grpSpPr>
      <p:grpSp>
        <p:nvGrpSpPr>
          <p:cNvPr id="978" name="Google Shape;978;p99"/>
          <p:cNvGrpSpPr/>
          <p:nvPr/>
        </p:nvGrpSpPr>
        <p:grpSpPr>
          <a:xfrm>
            <a:off x="7191542" y="1"/>
            <a:ext cx="5000459" cy="1425992"/>
            <a:chOff x="7191542" y="1"/>
            <a:chExt cx="5000459" cy="1425992"/>
          </a:xfrm>
        </p:grpSpPr>
        <p:pic>
          <p:nvPicPr>
            <p:cNvPr id="979" name="Google Shape;979;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91"/>
        <p:cNvGrpSpPr/>
        <p:nvPr/>
      </p:nvGrpSpPr>
      <p:grpSpPr>
        <a:xfrm>
          <a:off x="0" y="0"/>
          <a:ext cx="0" cy="0"/>
          <a:chOff x="0" y="0"/>
          <a:chExt cx="0" cy="0"/>
        </a:xfrm>
      </p:grpSpPr>
      <p:grpSp>
        <p:nvGrpSpPr>
          <p:cNvPr id="992" name="Google Shape;992;p100"/>
          <p:cNvGrpSpPr/>
          <p:nvPr/>
        </p:nvGrpSpPr>
        <p:grpSpPr>
          <a:xfrm>
            <a:off x="7191542" y="1"/>
            <a:ext cx="5000459" cy="1425992"/>
            <a:chOff x="7191542" y="1"/>
            <a:chExt cx="5000459" cy="1425992"/>
          </a:xfrm>
        </p:grpSpPr>
        <p:pic>
          <p:nvPicPr>
            <p:cNvPr id="993" name="Google Shape;993;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2" y="1"/>
            <a:ext cx="5000459" cy="1425992"/>
            <a:chOff x="7191542" y="1"/>
            <a:chExt cx="5000459" cy="1425992"/>
          </a:xfrm>
        </p:grpSpPr>
        <p:pic>
          <p:nvPicPr>
            <p:cNvPr id="1015" name="Google Shape;101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022" name="Google Shape;1022;p103"/>
          <p:cNvGrpSpPr/>
          <p:nvPr/>
        </p:nvGrpSpPr>
        <p:grpSpPr>
          <a:xfrm>
            <a:off x="0"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42" name="Google Shape;1042;p10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68" name="Google Shape;1068;p10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2" y="1"/>
            <a:ext cx="5000459" cy="1425992"/>
            <a:chOff x="7191542" y="1"/>
            <a:chExt cx="5000459" cy="1425992"/>
          </a:xfrm>
        </p:grpSpPr>
        <p:pic>
          <p:nvPicPr>
            <p:cNvPr id="1077" name="Google Shape;1077;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86" name="Google Shape;1086;p11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sp>
      <p:grpSp>
        <p:nvGrpSpPr>
          <p:cNvPr id="19" name="Google Shape;19;p2"/>
          <p:cNvGrpSpPr/>
          <p:nvPr/>
        </p:nvGrpSpPr>
        <p:grpSpPr>
          <a:xfrm>
            <a:off x="0" y="5020348"/>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94"/>
        <p:cNvGrpSpPr/>
        <p:nvPr/>
      </p:nvGrpSpPr>
      <p:grpSpPr>
        <a:xfrm>
          <a:off x="0" y="0"/>
          <a:ext cx="0" cy="0"/>
          <a:chOff x="0" y="0"/>
          <a:chExt cx="0" cy="0"/>
        </a:xfrm>
      </p:grpSpPr>
      <p:sp>
        <p:nvSpPr>
          <p:cNvPr id="1095" name="Google Shape;1095;p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2" y="1"/>
            <a:ext cx="5000459" cy="1425992"/>
            <a:chOff x="7191542" y="1"/>
            <a:chExt cx="5000459" cy="1425992"/>
          </a:xfrm>
        </p:grpSpPr>
        <p:pic>
          <p:nvPicPr>
            <p:cNvPr id="1102" name="Google Shape;110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Clr>
                <a:schemeClr val="lt1"/>
              </a:buClr>
              <a:buSzPts val="1800"/>
              <a:buFont typeface="Arial"/>
              <a:buNone/>
              <a:defRPr sz="1800" b="0">
                <a:solidFill>
                  <a:schemeClr val="lt1"/>
                </a:solidFill>
              </a:defRPr>
            </a:lvl6pPr>
            <a:lvl7pPr marL="3200400" lvl="6" indent="-228600" algn="l">
              <a:lnSpc>
                <a:spcPct val="116666"/>
              </a:lnSpc>
              <a:spcBef>
                <a:spcPts val="0"/>
              </a:spcBef>
              <a:spcAft>
                <a:spcPts val="0"/>
              </a:spcAft>
              <a:buClr>
                <a:schemeClr val="lt1"/>
              </a:buClr>
              <a:buSzPts val="1800"/>
              <a:buFont typeface="Arial"/>
              <a:buNone/>
              <a:defRPr sz="1800" b="0">
                <a:solidFill>
                  <a:schemeClr val="lt1"/>
                </a:solidFill>
              </a:defRPr>
            </a:lvl7pPr>
            <a:lvl8pPr marL="3657600" lvl="7" indent="-228600" algn="l">
              <a:lnSpc>
                <a:spcPct val="116666"/>
              </a:lnSpc>
              <a:spcBef>
                <a:spcPts val="0"/>
              </a:spcBef>
              <a:spcAft>
                <a:spcPts val="0"/>
              </a:spcAft>
              <a:buClr>
                <a:schemeClr val="lt1"/>
              </a:buClr>
              <a:buSzPts val="1800"/>
              <a:buFont typeface="Arial"/>
              <a:buNone/>
              <a:defRPr sz="1800" b="0">
                <a:solidFill>
                  <a:schemeClr val="lt1"/>
                </a:solidFill>
              </a:defRPr>
            </a:lvl8pPr>
            <a:lvl9pPr marL="4114800" lvl="8" indent="-228600"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1126" name="Google Shape;1126;p11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blip>
          <a:srcRect/>
          <a:stretch/>
        </p:blipFill>
        <p:spPr>
          <a:xfrm>
            <a:off x="539142" y="498512"/>
            <a:ext cx="3318337" cy="468861"/>
          </a:xfrm>
          <a:prstGeom prst="rect">
            <a:avLst/>
          </a:prstGeom>
          <a:noFill/>
          <a:ln>
            <a:noFill/>
          </a:ln>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lnSpc>
                <a:spcPct val="100000"/>
              </a:lnSpc>
              <a:spcBef>
                <a:spcPts val="360"/>
              </a:spcBef>
              <a:spcAft>
                <a:spcPts val="0"/>
              </a:spcAft>
              <a:buSzPts val="1800"/>
              <a:buChar char="•"/>
              <a:defRPr/>
            </a:lvl1pPr>
            <a:lvl2pPr marL="914400" lvl="1" indent="-320040" algn="l">
              <a:lnSpc>
                <a:spcPct val="100000"/>
              </a:lnSpc>
              <a:spcBef>
                <a:spcPts val="360"/>
              </a:spcBef>
              <a:spcAft>
                <a:spcPts val="0"/>
              </a:spcAft>
              <a:buClr>
                <a:schemeClr val="dk1"/>
              </a:buClr>
              <a:buSzPts val="144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5"/>
            <a:ext cx="2416216" cy="1878202"/>
            <a:chOff x="297439" y="2116926"/>
            <a:chExt cx="1826636" cy="1893204"/>
          </a:xfrm>
        </p:grpSpPr>
        <p:pic>
          <p:nvPicPr>
            <p:cNvPr id="1161" name="Google Shape;1161;p120"/>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 name="Google Shape;26;p3"/>
          <p:cNvGrpSpPr/>
          <p:nvPr/>
        </p:nvGrpSpPr>
        <p:grpSpPr>
          <a:xfrm>
            <a:off x="7191542" y="1"/>
            <a:ext cx="5000459" cy="1425992"/>
            <a:chOff x="7191542" y="1"/>
            <a:chExt cx="5000459" cy="1425992"/>
          </a:xfrm>
        </p:grpSpPr>
        <p:pic>
          <p:nvPicPr>
            <p:cNvPr id="27" name="Google Shape;27;p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 name="Google Shape;28;p3"/>
            <p:cNvGrpSpPr/>
            <p:nvPr/>
          </p:nvGrpSpPr>
          <p:grpSpPr>
            <a:xfrm>
              <a:off x="7191542" y="1"/>
              <a:ext cx="5000459" cy="1425992"/>
              <a:chOff x="7186272" y="0"/>
              <a:chExt cx="5005729" cy="1427495"/>
            </a:xfrm>
          </p:grpSpPr>
          <p:sp>
            <p:nvSpPr>
              <p:cNvPr id="29" name="Google Shape;29;p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30;p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 name="Google Shape;31;p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 name="Google Shape;33;p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 name="Google Shape;34;p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LM-Title">
  <p:cSld name="LM-Title 2">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5"/>
            <a:ext cx="2416216" cy="1878202"/>
            <a:chOff x="297439" y="2116926"/>
            <a:chExt cx="1826636" cy="1893204"/>
          </a:xfrm>
        </p:grpSpPr>
        <p:pic>
          <p:nvPicPr>
            <p:cNvPr id="1167" name="Google Shape;1167;p121"/>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19"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blip>
          <a:srcRect/>
          <a:stretch/>
        </p:blipFill>
        <p:spPr>
          <a:xfrm>
            <a:off x="3848100"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blip>
          <a:srcRect/>
          <a:stretch/>
        </p:blipFill>
        <p:spPr>
          <a:xfrm>
            <a:off x="4777705" y="1907926"/>
            <a:ext cx="2604577" cy="192492"/>
          </a:xfrm>
          <a:prstGeom prst="rect">
            <a:avLst/>
          </a:prstGeom>
          <a:noFill/>
          <a:ln>
            <a:noFill/>
          </a:ln>
        </p:spPr>
      </p:pic>
      <p:sp>
        <p:nvSpPr>
          <p:cNvPr id="1174" name="Google Shape;1174;p122"/>
          <p:cNvSpPr txBox="1">
            <a:spLocks noGrp="1"/>
          </p:cNvSpPr>
          <p:nvPr>
            <p:ph type="body" idx="1"/>
          </p:nvPr>
        </p:nvSpPr>
        <p:spPr>
          <a:xfrm>
            <a:off x="875819" y="4031767"/>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19" y="4886876"/>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9" name="Google Shape;1209;p127"/>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7"/>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3"/>
        <p:cNvGrpSpPr/>
        <p:nvPr/>
      </p:nvGrpSpPr>
      <p:grpSpPr>
        <a:xfrm>
          <a:off x="0" y="0"/>
          <a:ext cx="0" cy="0"/>
          <a:chOff x="0" y="0"/>
          <a:chExt cx="0" cy="0"/>
        </a:xfrm>
      </p:grpSpPr>
      <p:grpSp>
        <p:nvGrpSpPr>
          <p:cNvPr id="44" name="Google Shape;44;p5"/>
          <p:cNvGrpSpPr/>
          <p:nvPr/>
        </p:nvGrpSpPr>
        <p:grpSpPr>
          <a:xfrm>
            <a:off x="7191542" y="1"/>
            <a:ext cx="5000459" cy="1425992"/>
            <a:chOff x="7191542" y="1"/>
            <a:chExt cx="5000459" cy="1425992"/>
          </a:xfrm>
        </p:grpSpPr>
        <p:pic>
          <p:nvPicPr>
            <p:cNvPr id="45" name="Google Shape;45;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6"/>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3"/>
        <p:cNvGrpSpPr/>
        <p:nvPr/>
      </p:nvGrpSpPr>
      <p:grpSpPr>
        <a:xfrm>
          <a:off x="0" y="0"/>
          <a:ext cx="0" cy="0"/>
          <a:chOff x="0" y="0"/>
          <a:chExt cx="0" cy="0"/>
        </a:xfrm>
      </p:grpSpPr>
      <p:grpSp>
        <p:nvGrpSpPr>
          <p:cNvPr id="74" name="Google Shape;74;p8"/>
          <p:cNvGrpSpPr/>
          <p:nvPr/>
        </p:nvGrpSpPr>
        <p:grpSpPr>
          <a:xfrm>
            <a:off x="7191542" y="1"/>
            <a:ext cx="5000459" cy="1425992"/>
            <a:chOff x="7191542" y="1"/>
            <a:chExt cx="5000459" cy="1425992"/>
          </a:xfrm>
        </p:grpSpPr>
        <p:pic>
          <p:nvPicPr>
            <p:cNvPr id="75" name="Google Shape;75;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87"/>
        <p:cNvGrpSpPr/>
        <p:nvPr/>
      </p:nvGrpSpPr>
      <p:grpSpPr>
        <a:xfrm>
          <a:off x="0" y="0"/>
          <a:ext cx="0" cy="0"/>
          <a:chOff x="0" y="0"/>
          <a:chExt cx="0" cy="0"/>
        </a:xfrm>
      </p:grpSpPr>
      <p:sp>
        <p:nvSpPr>
          <p:cNvPr id="88" name="Google Shape;88;p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8"/>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7"/>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6"/>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2" y="1"/>
            <a:ext cx="5000459" cy="1425992"/>
            <a:chOff x="7191542" y="1"/>
            <a:chExt cx="5000459" cy="1425992"/>
          </a:xfrm>
        </p:grpSpPr>
        <p:pic>
          <p:nvPicPr>
            <p:cNvPr id="120" name="Google Shape;120;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25"/>
        <p:cNvGrpSpPr/>
        <p:nvPr/>
      </p:nvGrpSpPr>
      <p:grpSpPr>
        <a:xfrm>
          <a:off x="0" y="0"/>
          <a:ext cx="0" cy="0"/>
          <a:chOff x="0" y="0"/>
          <a:chExt cx="0" cy="0"/>
        </a:xfrm>
      </p:grpSpPr>
      <p:grpSp>
        <p:nvGrpSpPr>
          <p:cNvPr id="126" name="Google Shape;126;p13"/>
          <p:cNvGrpSpPr/>
          <p:nvPr/>
        </p:nvGrpSpPr>
        <p:grpSpPr>
          <a:xfrm>
            <a:off x="7191542" y="1"/>
            <a:ext cx="5000459" cy="1425992"/>
            <a:chOff x="7191542" y="1"/>
            <a:chExt cx="5000459" cy="1425992"/>
          </a:xfrm>
        </p:grpSpPr>
        <p:pic>
          <p:nvPicPr>
            <p:cNvPr id="127" name="Google Shape;127;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2" y="1"/>
            <a:ext cx="5000459" cy="1425992"/>
            <a:chOff x="7191542" y="1"/>
            <a:chExt cx="5000459" cy="1425992"/>
          </a:xfrm>
        </p:grpSpPr>
        <p:pic>
          <p:nvPicPr>
            <p:cNvPr id="140" name="Google Shape;140;p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48"/>
        <p:cNvGrpSpPr/>
        <p:nvPr/>
      </p:nvGrpSpPr>
      <p:grpSpPr>
        <a:xfrm>
          <a:off x="0" y="0"/>
          <a:ext cx="0" cy="0"/>
          <a:chOff x="0" y="0"/>
          <a:chExt cx="0" cy="0"/>
        </a:xfrm>
      </p:grpSpPr>
      <p:grpSp>
        <p:nvGrpSpPr>
          <p:cNvPr id="149" name="Google Shape;149;p15"/>
          <p:cNvGrpSpPr/>
          <p:nvPr/>
        </p:nvGrpSpPr>
        <p:grpSpPr>
          <a:xfrm>
            <a:off x="7191542" y="1"/>
            <a:ext cx="5000459" cy="1425992"/>
            <a:chOff x="7191542" y="1"/>
            <a:chExt cx="5000459" cy="1425992"/>
          </a:xfrm>
        </p:grpSpPr>
        <p:pic>
          <p:nvPicPr>
            <p:cNvPr id="150" name="Google Shape;150;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2"/>
        <p:cNvGrpSpPr/>
        <p:nvPr/>
      </p:nvGrpSpPr>
      <p:grpSpPr>
        <a:xfrm>
          <a:off x="0" y="0"/>
          <a:ext cx="0" cy="0"/>
          <a:chOff x="0" y="0"/>
          <a:chExt cx="0" cy="0"/>
        </a:xfrm>
      </p:grpSpPr>
      <p:grpSp>
        <p:nvGrpSpPr>
          <p:cNvPr id="163" name="Google Shape;163;p16"/>
          <p:cNvGrpSpPr/>
          <p:nvPr/>
        </p:nvGrpSpPr>
        <p:grpSpPr>
          <a:xfrm>
            <a:off x="7191542" y="1"/>
            <a:ext cx="5000459" cy="1425992"/>
            <a:chOff x="7191542" y="1"/>
            <a:chExt cx="5000459" cy="1425992"/>
          </a:xfrm>
        </p:grpSpPr>
        <p:pic>
          <p:nvPicPr>
            <p:cNvPr id="164" name="Google Shape;164;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3010 Gran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74E4772-CB42-4FBC-8F07-88F11BC9AE5B}"/>
              </a:ext>
            </a:extLst>
          </p:cNvPr>
          <p:cNvGrpSpPr/>
          <p:nvPr userDrawn="1"/>
        </p:nvGrpSpPr>
        <p:grpSpPr>
          <a:xfrm>
            <a:off x="0" y="-1"/>
            <a:ext cx="12192000" cy="6867660"/>
            <a:chOff x="0" y="-1"/>
            <a:chExt cx="9144000" cy="6867660"/>
          </a:xfrm>
        </p:grpSpPr>
        <p:pic>
          <p:nvPicPr>
            <p:cNvPr id="6" name="Picture 5">
              <a:extLst>
                <a:ext uri="{FF2B5EF4-FFF2-40B4-BE49-F238E27FC236}">
                  <a16:creationId xmlns:a16="http://schemas.microsoft.com/office/drawing/2014/main" id="{2E95A938-7ABD-4563-A973-43E0E1D3B6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11111" b="-141"/>
            <a:stretch/>
          </p:blipFill>
          <p:spPr>
            <a:xfrm>
              <a:off x="0" y="-1"/>
              <a:ext cx="9144000" cy="6867660"/>
            </a:xfrm>
            <a:prstGeom prst="rect">
              <a:avLst/>
            </a:prstGeom>
          </p:spPr>
        </p:pic>
        <p:sp>
          <p:nvSpPr>
            <p:cNvPr id="7" name="Rectangle 6">
              <a:extLst>
                <a:ext uri="{FF2B5EF4-FFF2-40B4-BE49-F238E27FC236}">
                  <a16:creationId xmlns:a16="http://schemas.microsoft.com/office/drawing/2014/main" id="{7438574F-E1CA-4D9C-B828-856B8ACFD6A0}"/>
                </a:ext>
              </a:extLst>
            </p:cNvPr>
            <p:cNvSpPr/>
            <p:nvPr userDrawn="1"/>
          </p:nvSpPr>
          <p:spPr>
            <a:xfrm>
              <a:off x="502952" y="582937"/>
              <a:ext cx="8138097" cy="5692127"/>
            </a:xfrm>
            <a:prstGeom prst="rect">
              <a:avLst/>
            </a:prstGeom>
            <a:solidFill>
              <a:schemeClr val="bg1">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grpSp>
      <p:sp>
        <p:nvSpPr>
          <p:cNvPr id="11" name="Text Placeholder 10">
            <a:extLst>
              <a:ext uri="{FF2B5EF4-FFF2-40B4-BE49-F238E27FC236}">
                <a16:creationId xmlns:a16="http://schemas.microsoft.com/office/drawing/2014/main" id="{5185FDEA-4B68-4825-B155-8D1BCEB5A69B}"/>
              </a:ext>
            </a:extLst>
          </p:cNvPr>
          <p:cNvSpPr>
            <a:spLocks noGrp="1"/>
          </p:cNvSpPr>
          <p:nvPr>
            <p:ph type="body" sz="quarter" idx="10"/>
          </p:nvPr>
        </p:nvSpPr>
        <p:spPr>
          <a:xfrm>
            <a:off x="1797804" y="3959929"/>
            <a:ext cx="8596392" cy="239431"/>
          </a:xfrm>
          <a:prstGeom prst="rect">
            <a:avLst/>
          </a:prstGeom>
        </p:spPr>
        <p:txBody>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pPr lvl="0"/>
            <a:endParaRPr lang="en-US" dirty="0"/>
          </a:p>
        </p:txBody>
      </p:sp>
      <p:sp>
        <p:nvSpPr>
          <p:cNvPr id="2" name="Title 1">
            <a:extLst>
              <a:ext uri="{FF2B5EF4-FFF2-40B4-BE49-F238E27FC236}">
                <a16:creationId xmlns:a16="http://schemas.microsoft.com/office/drawing/2014/main" id="{69CB37CF-A5BD-42BD-8D22-25EA39DC2568}"/>
              </a:ext>
            </a:extLst>
          </p:cNvPr>
          <p:cNvSpPr>
            <a:spLocks noGrp="1"/>
          </p:cNvSpPr>
          <p:nvPr>
            <p:ph type="title"/>
          </p:nvPr>
        </p:nvSpPr>
        <p:spPr>
          <a:xfrm>
            <a:off x="1180492" y="3252529"/>
            <a:ext cx="9810237" cy="656851"/>
          </a:xfrm>
          <a:prstGeom prst="rect">
            <a:avLst/>
          </a:prstGeom>
        </p:spPr>
        <p:txBody>
          <a:bodyPr/>
          <a:lstStyle>
            <a:lvl1pPr algn="ct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a:t>
            </a:r>
          </a:p>
        </p:txBody>
      </p:sp>
      <p:cxnSp>
        <p:nvCxnSpPr>
          <p:cNvPr id="4" name="Straight Connector 3">
            <a:extLst>
              <a:ext uri="{FF2B5EF4-FFF2-40B4-BE49-F238E27FC236}">
                <a16:creationId xmlns:a16="http://schemas.microsoft.com/office/drawing/2014/main" id="{C9F1602D-FCB4-4991-9115-6AF2460A5F84}"/>
              </a:ext>
            </a:extLst>
          </p:cNvPr>
          <p:cNvCxnSpPr/>
          <p:nvPr userDrawn="1"/>
        </p:nvCxnSpPr>
        <p:spPr>
          <a:xfrm>
            <a:off x="3210632" y="4336561"/>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D3C5D79-BE58-4D23-A650-C713160E05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70117" y="1503517"/>
            <a:ext cx="4507948" cy="1335480"/>
          </a:xfrm>
          <a:prstGeom prst="rect">
            <a:avLst/>
          </a:prstGeom>
        </p:spPr>
      </p:pic>
      <p:sp>
        <p:nvSpPr>
          <p:cNvPr id="16" name="Text Placeholder 15">
            <a:extLst>
              <a:ext uri="{FF2B5EF4-FFF2-40B4-BE49-F238E27FC236}">
                <a16:creationId xmlns:a16="http://schemas.microsoft.com/office/drawing/2014/main" id="{A5C1D295-5C3A-4370-8CED-822B2B70C340}"/>
              </a:ext>
            </a:extLst>
          </p:cNvPr>
          <p:cNvSpPr>
            <a:spLocks noGrp="1"/>
          </p:cNvSpPr>
          <p:nvPr>
            <p:ph type="body" sz="quarter" idx="11"/>
          </p:nvPr>
        </p:nvSpPr>
        <p:spPr>
          <a:xfrm>
            <a:off x="4483864" y="4501842"/>
            <a:ext cx="3359151" cy="385763"/>
          </a:xfrm>
          <a:prstGeom prst="rect">
            <a:avLst/>
          </a:prstGeom>
        </p:spPr>
        <p:txBody>
          <a:bodyPr/>
          <a:lstStyle>
            <a:lvl1pPr marL="0" indent="0" algn="ctr">
              <a:buNone/>
              <a:defRPr sz="1350"/>
            </a:lvl1pPr>
          </a:lstStyle>
          <a:p>
            <a:pPr lvl="0"/>
            <a:endParaRPr lang="en-US" dirty="0"/>
          </a:p>
        </p:txBody>
      </p:sp>
    </p:spTree>
    <p:extLst>
      <p:ext uri="{BB962C8B-B14F-4D97-AF65-F5344CB8AC3E}">
        <p14:creationId xmlns:p14="http://schemas.microsoft.com/office/powerpoint/2010/main" val="129043217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3010 Gran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74E4772-CB42-4FBC-8F07-88F11BC9AE5B}"/>
              </a:ext>
            </a:extLst>
          </p:cNvPr>
          <p:cNvGrpSpPr/>
          <p:nvPr userDrawn="1"/>
        </p:nvGrpSpPr>
        <p:grpSpPr>
          <a:xfrm>
            <a:off x="0" y="-1"/>
            <a:ext cx="12192000" cy="6867660"/>
            <a:chOff x="0" y="-1"/>
            <a:chExt cx="9144000" cy="6867660"/>
          </a:xfrm>
        </p:grpSpPr>
        <p:pic>
          <p:nvPicPr>
            <p:cNvPr id="6" name="Picture 5">
              <a:extLst>
                <a:ext uri="{FF2B5EF4-FFF2-40B4-BE49-F238E27FC236}">
                  <a16:creationId xmlns:a16="http://schemas.microsoft.com/office/drawing/2014/main" id="{2E95A938-7ABD-4563-A973-43E0E1D3B6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r="11111" b="-141"/>
            <a:stretch/>
          </p:blipFill>
          <p:spPr>
            <a:xfrm>
              <a:off x="0" y="-1"/>
              <a:ext cx="9144000" cy="6867660"/>
            </a:xfrm>
            <a:prstGeom prst="rect">
              <a:avLst/>
            </a:prstGeom>
          </p:spPr>
        </p:pic>
        <p:sp>
          <p:nvSpPr>
            <p:cNvPr id="7" name="Rectangle 6">
              <a:extLst>
                <a:ext uri="{FF2B5EF4-FFF2-40B4-BE49-F238E27FC236}">
                  <a16:creationId xmlns:a16="http://schemas.microsoft.com/office/drawing/2014/main" id="{7438574F-E1CA-4D9C-B828-856B8ACFD6A0}"/>
                </a:ext>
              </a:extLst>
            </p:cNvPr>
            <p:cNvSpPr/>
            <p:nvPr userDrawn="1"/>
          </p:nvSpPr>
          <p:spPr>
            <a:xfrm>
              <a:off x="502952" y="582937"/>
              <a:ext cx="8138097" cy="5692127"/>
            </a:xfrm>
            <a:prstGeom prst="rect">
              <a:avLst/>
            </a:prstGeom>
            <a:solidFill>
              <a:schemeClr val="bg1">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grpSp>
      <p:sp>
        <p:nvSpPr>
          <p:cNvPr id="11" name="Text Placeholder 10">
            <a:extLst>
              <a:ext uri="{FF2B5EF4-FFF2-40B4-BE49-F238E27FC236}">
                <a16:creationId xmlns:a16="http://schemas.microsoft.com/office/drawing/2014/main" id="{5185FDEA-4B68-4825-B155-8D1BCEB5A69B}"/>
              </a:ext>
            </a:extLst>
          </p:cNvPr>
          <p:cNvSpPr>
            <a:spLocks noGrp="1"/>
          </p:cNvSpPr>
          <p:nvPr>
            <p:ph type="body" sz="quarter" idx="10"/>
          </p:nvPr>
        </p:nvSpPr>
        <p:spPr>
          <a:xfrm>
            <a:off x="1797804" y="3959929"/>
            <a:ext cx="8596392" cy="239431"/>
          </a:xfrm>
          <a:prstGeom prst="rect">
            <a:avLst/>
          </a:prstGeom>
        </p:spPr>
        <p:txBody>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pPr lvl="0"/>
            <a:endParaRPr lang="en-US" dirty="0"/>
          </a:p>
        </p:txBody>
      </p:sp>
      <p:sp>
        <p:nvSpPr>
          <p:cNvPr id="2" name="Title 1">
            <a:extLst>
              <a:ext uri="{FF2B5EF4-FFF2-40B4-BE49-F238E27FC236}">
                <a16:creationId xmlns:a16="http://schemas.microsoft.com/office/drawing/2014/main" id="{69CB37CF-A5BD-42BD-8D22-25EA39DC2568}"/>
              </a:ext>
            </a:extLst>
          </p:cNvPr>
          <p:cNvSpPr>
            <a:spLocks noGrp="1"/>
          </p:cNvSpPr>
          <p:nvPr>
            <p:ph type="title"/>
          </p:nvPr>
        </p:nvSpPr>
        <p:spPr>
          <a:xfrm>
            <a:off x="1180492" y="3252529"/>
            <a:ext cx="9810237" cy="656851"/>
          </a:xfrm>
          <a:prstGeom prst="rect">
            <a:avLst/>
          </a:prstGeom>
        </p:spPr>
        <p:txBody>
          <a:bodyPr/>
          <a:lstStyle>
            <a:lvl1pPr algn="ctr">
              <a:defRPr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a:t>
            </a:r>
          </a:p>
        </p:txBody>
      </p:sp>
      <p:cxnSp>
        <p:nvCxnSpPr>
          <p:cNvPr id="4" name="Straight Connector 3">
            <a:extLst>
              <a:ext uri="{FF2B5EF4-FFF2-40B4-BE49-F238E27FC236}">
                <a16:creationId xmlns:a16="http://schemas.microsoft.com/office/drawing/2014/main" id="{C9F1602D-FCB4-4991-9115-6AF2460A5F84}"/>
              </a:ext>
            </a:extLst>
          </p:cNvPr>
          <p:cNvCxnSpPr/>
          <p:nvPr userDrawn="1"/>
        </p:nvCxnSpPr>
        <p:spPr>
          <a:xfrm>
            <a:off x="3210632" y="4336561"/>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ED3C5D79-BE58-4D23-A650-C713160E051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70117" y="1503517"/>
            <a:ext cx="4507948" cy="1335480"/>
          </a:xfrm>
          <a:prstGeom prst="rect">
            <a:avLst/>
          </a:prstGeom>
        </p:spPr>
      </p:pic>
      <p:sp>
        <p:nvSpPr>
          <p:cNvPr id="16" name="Text Placeholder 15">
            <a:extLst>
              <a:ext uri="{FF2B5EF4-FFF2-40B4-BE49-F238E27FC236}">
                <a16:creationId xmlns:a16="http://schemas.microsoft.com/office/drawing/2014/main" id="{A5C1D295-5C3A-4370-8CED-822B2B70C340}"/>
              </a:ext>
            </a:extLst>
          </p:cNvPr>
          <p:cNvSpPr>
            <a:spLocks noGrp="1"/>
          </p:cNvSpPr>
          <p:nvPr>
            <p:ph type="body" sz="quarter" idx="11"/>
          </p:nvPr>
        </p:nvSpPr>
        <p:spPr>
          <a:xfrm>
            <a:off x="4483864" y="4501842"/>
            <a:ext cx="3359151" cy="385763"/>
          </a:xfrm>
          <a:prstGeom prst="rect">
            <a:avLst/>
          </a:prstGeom>
        </p:spPr>
        <p:txBody>
          <a:bodyPr/>
          <a:lstStyle>
            <a:lvl1pPr marL="0" indent="0" algn="ctr">
              <a:buNone/>
              <a:defRPr sz="1350"/>
            </a:lvl1pPr>
          </a:lstStyle>
          <a:p>
            <a:pPr lvl="0"/>
            <a:endParaRPr lang="en-US" dirty="0"/>
          </a:p>
        </p:txBody>
      </p:sp>
    </p:spTree>
    <p:extLst>
      <p:ext uri="{BB962C8B-B14F-4D97-AF65-F5344CB8AC3E}">
        <p14:creationId xmlns:p14="http://schemas.microsoft.com/office/powerpoint/2010/main" val="129043217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077634"/>
          </a:xfrm>
        </p:spPr>
        <p:txBody>
          <a:bodyPr/>
          <a:lstStyle>
            <a:lvl1pPr>
              <a:lnSpc>
                <a:spcPct val="100000"/>
              </a:lnSpc>
              <a:spcAft>
                <a:spcPts val="600"/>
              </a:spcAft>
              <a:defRPr/>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4" name="Title 3">
            <a:extLst>
              <a:ext uri="{FF2B5EF4-FFF2-40B4-BE49-F238E27FC236}">
                <a16:creationId xmlns:a16="http://schemas.microsoft.com/office/drawing/2014/main" id="{ED5B5F89-B464-49A5-A01C-BBE726DBCCE8}"/>
              </a:ext>
            </a:extLst>
          </p:cNvPr>
          <p:cNvSpPr>
            <a:spLocks noGrp="1"/>
          </p:cNvSpPr>
          <p:nvPr>
            <p:ph type="title"/>
          </p:nvPr>
        </p:nvSpPr>
        <p:spPr/>
        <p:txBody>
          <a:bodyPr/>
          <a:lstStyle/>
          <a:p>
            <a:r>
              <a:rPr lang="en-US"/>
              <a:t>Click to edit Master title style</a:t>
            </a:r>
          </a:p>
        </p:txBody>
      </p:sp>
      <p:sp>
        <p:nvSpPr>
          <p:cNvPr id="5" name="Subtitle 2">
            <a:extLst>
              <a:ext uri="{FF2B5EF4-FFF2-40B4-BE49-F238E27FC236}">
                <a16:creationId xmlns:a16="http://schemas.microsoft.com/office/drawing/2014/main" id="{38345326-6BD8-42E0-AB8D-F4C594C968BC}"/>
              </a:ext>
            </a:extLst>
          </p:cNvPr>
          <p:cNvSpPr>
            <a:spLocks noGrp="1"/>
          </p:cNvSpPr>
          <p:nvPr>
            <p:ph type="subTitle" idx="10"/>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122581749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80502408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End Title - 3010 Gr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F5C557-5E21-455D-9C20-1C6DB1B3DBE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r="11111" b="-141"/>
          <a:stretch/>
        </p:blipFill>
        <p:spPr>
          <a:xfrm>
            <a:off x="0" y="-1"/>
            <a:ext cx="12192000" cy="6867660"/>
          </a:xfrm>
          <a:prstGeom prst="rect">
            <a:avLst/>
          </a:prstGeom>
        </p:spPr>
      </p:pic>
      <p:sp>
        <p:nvSpPr>
          <p:cNvPr id="8" name="Rectangle 7">
            <a:extLst>
              <a:ext uri="{FF2B5EF4-FFF2-40B4-BE49-F238E27FC236}">
                <a16:creationId xmlns:a16="http://schemas.microsoft.com/office/drawing/2014/main" id="{EBDF7C4C-4A12-479D-B86B-6494947CA85C}"/>
              </a:ext>
            </a:extLst>
          </p:cNvPr>
          <p:cNvSpPr/>
          <p:nvPr userDrawn="1"/>
        </p:nvSpPr>
        <p:spPr>
          <a:xfrm>
            <a:off x="670603" y="582938"/>
            <a:ext cx="10850796" cy="5692127"/>
          </a:xfrm>
          <a:prstGeom prst="rect">
            <a:avLst/>
          </a:prstGeom>
          <a:solidFill>
            <a:schemeClr val="bg1">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sp>
        <p:nvSpPr>
          <p:cNvPr id="9" name="Rectangle 8">
            <a:extLst>
              <a:ext uri="{FF2B5EF4-FFF2-40B4-BE49-F238E27FC236}">
                <a16:creationId xmlns:a16="http://schemas.microsoft.com/office/drawing/2014/main" id="{C5B1B364-5059-43D6-AF70-E1B60213278E}"/>
              </a:ext>
            </a:extLst>
          </p:cNvPr>
          <p:cNvSpPr/>
          <p:nvPr userDrawn="1"/>
        </p:nvSpPr>
        <p:spPr>
          <a:xfrm>
            <a:off x="3658731" y="4654351"/>
            <a:ext cx="4874539" cy="998401"/>
          </a:xfrm>
          <a:prstGeom prst="rect">
            <a:avLst/>
          </a:prstGeom>
        </p:spPr>
        <p:txBody>
          <a:bodyPr wrap="square" lIns="91424" tIns="45713" rIns="91424" bIns="45713">
            <a:spAutoFit/>
          </a:bodyPr>
          <a:lstStyle/>
          <a:p>
            <a:pPr algn="ctr"/>
            <a:endParaRPr lang="en-US" sz="1200" dirty="0"/>
          </a:p>
          <a:p>
            <a:pPr algn="ctr"/>
            <a:r>
              <a:rPr lang="en-US" sz="1200" dirty="0"/>
              <a:t>3010 Grand Avenue, Waukegan, Illinois 60085</a:t>
            </a:r>
            <a:br>
              <a:rPr lang="en-US" sz="1200" dirty="0"/>
            </a:br>
            <a:r>
              <a:rPr lang="en-US" sz="1200" dirty="0"/>
              <a:t>(847) 377-8000</a:t>
            </a:r>
          </a:p>
          <a:p>
            <a:pPr algn="ctr" defTabSz="685663"/>
            <a:r>
              <a:rPr lang="en-US" sz="1200" dirty="0"/>
              <a:t>health.lakecountyil.gov</a:t>
            </a:r>
          </a:p>
          <a:p>
            <a:pPr algn="ctr" defTabSz="685663"/>
            <a:endParaRPr lang="en-US" sz="1088" dirty="0"/>
          </a:p>
        </p:txBody>
      </p:sp>
      <p:cxnSp>
        <p:nvCxnSpPr>
          <p:cNvPr id="15" name="Straight Connector 14">
            <a:extLst>
              <a:ext uri="{FF2B5EF4-FFF2-40B4-BE49-F238E27FC236}">
                <a16:creationId xmlns:a16="http://schemas.microsoft.com/office/drawing/2014/main" id="{2C763EDB-07A1-47B2-AF9C-81568B459EAC}"/>
              </a:ext>
            </a:extLst>
          </p:cNvPr>
          <p:cNvCxnSpPr/>
          <p:nvPr userDrawn="1"/>
        </p:nvCxnSpPr>
        <p:spPr>
          <a:xfrm>
            <a:off x="3228110" y="4704077"/>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2" descr="https://www.jointcommission.org/assets/1/6/GoldSeal_4color.jpg">
            <a:extLst>
              <a:ext uri="{FF2B5EF4-FFF2-40B4-BE49-F238E27FC236}">
                <a16:creationId xmlns:a16="http://schemas.microsoft.com/office/drawing/2014/main" id="{0BE8AD7D-3420-4FB8-BDFA-41699CF1FA6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201662" y="3075919"/>
            <a:ext cx="1788677" cy="134150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BD1A0ED-D886-427C-B685-AFE9ADDF2496}"/>
              </a:ext>
            </a:extLst>
          </p:cNvPr>
          <p:cNvGrpSpPr/>
          <p:nvPr userDrawn="1"/>
        </p:nvGrpSpPr>
        <p:grpSpPr>
          <a:xfrm>
            <a:off x="2746082" y="5591775"/>
            <a:ext cx="6699839" cy="282626"/>
            <a:chOff x="2260857" y="5636225"/>
            <a:chExt cx="5024879" cy="282626"/>
          </a:xfrm>
        </p:grpSpPr>
        <p:grpSp>
          <p:nvGrpSpPr>
            <p:cNvPr id="20" name="Group 19">
              <a:extLst>
                <a:ext uri="{FF2B5EF4-FFF2-40B4-BE49-F238E27FC236}">
                  <a16:creationId xmlns:a16="http://schemas.microsoft.com/office/drawing/2014/main" id="{B0BEE658-5FC2-41C1-AE02-6DFEAE7ED21B}"/>
                </a:ext>
              </a:extLst>
            </p:cNvPr>
            <p:cNvGrpSpPr/>
            <p:nvPr userDrawn="1"/>
          </p:nvGrpSpPr>
          <p:grpSpPr>
            <a:xfrm>
              <a:off x="2260857" y="5636225"/>
              <a:ext cx="1350547" cy="282626"/>
              <a:chOff x="2260857" y="5636225"/>
              <a:chExt cx="1350547" cy="282626"/>
            </a:xfrm>
          </p:grpSpPr>
          <p:sp>
            <p:nvSpPr>
              <p:cNvPr id="10" name="Rectangle 9">
                <a:extLst>
                  <a:ext uri="{FF2B5EF4-FFF2-40B4-BE49-F238E27FC236}">
                    <a16:creationId xmlns:a16="http://schemas.microsoft.com/office/drawing/2014/main" id="{EA3BC408-ACA6-4ADA-AA57-B5B4023B2F40}"/>
                  </a:ext>
                </a:extLst>
              </p:cNvPr>
              <p:cNvSpPr/>
              <p:nvPr userDrawn="1"/>
            </p:nvSpPr>
            <p:spPr>
              <a:xfrm>
                <a:off x="2543483" y="5673664"/>
                <a:ext cx="1067921" cy="230832"/>
              </a:xfrm>
              <a:prstGeom prst="rect">
                <a:avLst/>
              </a:prstGeom>
            </p:spPr>
            <p:txBody>
              <a:bodyPr wrap="none">
                <a:spAutoFit/>
              </a:bodyPr>
              <a:lstStyle/>
              <a:p>
                <a:r>
                  <a:rPr lang="en-US" sz="900" dirty="0"/>
                  <a:t>HealthDepartment</a:t>
                </a:r>
              </a:p>
            </p:txBody>
          </p:sp>
          <p:sp>
            <p:nvSpPr>
              <p:cNvPr id="12" name="Freeform 312">
                <a:extLst>
                  <a:ext uri="{FF2B5EF4-FFF2-40B4-BE49-F238E27FC236}">
                    <a16:creationId xmlns:a16="http://schemas.microsoft.com/office/drawing/2014/main" id="{F3852112-C658-41A1-8D16-D75C465A1F95}"/>
                  </a:ext>
                </a:extLst>
              </p:cNvPr>
              <p:cNvSpPr>
                <a:spLocks noEditPoints="1"/>
              </p:cNvSpPr>
              <p:nvPr userDrawn="1"/>
            </p:nvSpPr>
            <p:spPr bwMode="auto">
              <a:xfrm>
                <a:off x="2260857" y="5636225"/>
                <a:ext cx="282626" cy="282626"/>
              </a:xfrm>
              <a:custGeom>
                <a:avLst/>
                <a:gdLst>
                  <a:gd name="T0" fmla="*/ 101 w 185"/>
                  <a:gd name="T1" fmla="*/ 72 h 185"/>
                  <a:gd name="T2" fmla="*/ 106 w 185"/>
                  <a:gd name="T3" fmla="*/ 67 h 185"/>
                  <a:gd name="T4" fmla="*/ 113 w 185"/>
                  <a:gd name="T5" fmla="*/ 67 h 185"/>
                  <a:gd name="T6" fmla="*/ 113 w 185"/>
                  <a:gd name="T7" fmla="*/ 54 h 185"/>
                  <a:gd name="T8" fmla="*/ 102 w 185"/>
                  <a:gd name="T9" fmla="*/ 54 h 185"/>
                  <a:gd name="T10" fmla="*/ 84 w 185"/>
                  <a:gd name="T11" fmla="*/ 71 h 185"/>
                  <a:gd name="T12" fmla="*/ 84 w 185"/>
                  <a:gd name="T13" fmla="*/ 80 h 185"/>
                  <a:gd name="T14" fmla="*/ 75 w 185"/>
                  <a:gd name="T15" fmla="*/ 80 h 185"/>
                  <a:gd name="T16" fmla="*/ 75 w 185"/>
                  <a:gd name="T17" fmla="*/ 92 h 185"/>
                  <a:gd name="T18" fmla="*/ 84 w 185"/>
                  <a:gd name="T19" fmla="*/ 92 h 185"/>
                  <a:gd name="T20" fmla="*/ 84 w 185"/>
                  <a:gd name="T21" fmla="*/ 130 h 185"/>
                  <a:gd name="T22" fmla="*/ 101 w 185"/>
                  <a:gd name="T23" fmla="*/ 130 h 185"/>
                  <a:gd name="T24" fmla="*/ 101 w 185"/>
                  <a:gd name="T25" fmla="*/ 92 h 185"/>
                  <a:gd name="T26" fmla="*/ 112 w 185"/>
                  <a:gd name="T27" fmla="*/ 92 h 185"/>
                  <a:gd name="T28" fmla="*/ 113 w 185"/>
                  <a:gd name="T29" fmla="*/ 80 h 185"/>
                  <a:gd name="T30" fmla="*/ 101 w 185"/>
                  <a:gd name="T31" fmla="*/ 80 h 185"/>
                  <a:gd name="T32" fmla="*/ 101 w 185"/>
                  <a:gd name="T33" fmla="*/ 72 h 185"/>
                  <a:gd name="T34" fmla="*/ 92 w 185"/>
                  <a:gd name="T35" fmla="*/ 0 h 185"/>
                  <a:gd name="T36" fmla="*/ 0 w 185"/>
                  <a:gd name="T37" fmla="*/ 92 h 185"/>
                  <a:gd name="T38" fmla="*/ 92 w 185"/>
                  <a:gd name="T39" fmla="*/ 185 h 185"/>
                  <a:gd name="T40" fmla="*/ 185 w 185"/>
                  <a:gd name="T41" fmla="*/ 92 h 185"/>
                  <a:gd name="T42" fmla="*/ 92 w 185"/>
                  <a:gd name="T43" fmla="*/ 0 h 185"/>
                  <a:gd name="T44" fmla="*/ 92 w 185"/>
                  <a:gd name="T45" fmla="*/ 177 h 185"/>
                  <a:gd name="T46" fmla="*/ 8 w 185"/>
                  <a:gd name="T47" fmla="*/ 92 h 185"/>
                  <a:gd name="T48" fmla="*/ 92 w 185"/>
                  <a:gd name="T49" fmla="*/ 8 h 185"/>
                  <a:gd name="T50" fmla="*/ 177 w 185"/>
                  <a:gd name="T51" fmla="*/ 92 h 185"/>
                  <a:gd name="T52" fmla="*/ 92 w 185"/>
                  <a:gd name="T5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185">
                    <a:moveTo>
                      <a:pt x="101" y="72"/>
                    </a:moveTo>
                    <a:cubicBezTo>
                      <a:pt x="101" y="69"/>
                      <a:pt x="101" y="67"/>
                      <a:pt x="106" y="67"/>
                    </a:cubicBezTo>
                    <a:cubicBezTo>
                      <a:pt x="113" y="67"/>
                      <a:pt x="113" y="67"/>
                      <a:pt x="113" y="67"/>
                    </a:cubicBezTo>
                    <a:cubicBezTo>
                      <a:pt x="113" y="54"/>
                      <a:pt x="113" y="54"/>
                      <a:pt x="113" y="54"/>
                    </a:cubicBezTo>
                    <a:cubicBezTo>
                      <a:pt x="102" y="54"/>
                      <a:pt x="102" y="54"/>
                      <a:pt x="102" y="54"/>
                    </a:cubicBezTo>
                    <a:cubicBezTo>
                      <a:pt x="89" y="54"/>
                      <a:pt x="84" y="61"/>
                      <a:pt x="84" y="71"/>
                    </a:cubicBezTo>
                    <a:cubicBezTo>
                      <a:pt x="84" y="80"/>
                      <a:pt x="84" y="80"/>
                      <a:pt x="84" y="80"/>
                    </a:cubicBezTo>
                    <a:cubicBezTo>
                      <a:pt x="75" y="80"/>
                      <a:pt x="75" y="80"/>
                      <a:pt x="75" y="80"/>
                    </a:cubicBezTo>
                    <a:cubicBezTo>
                      <a:pt x="75" y="92"/>
                      <a:pt x="75" y="92"/>
                      <a:pt x="75" y="92"/>
                    </a:cubicBezTo>
                    <a:cubicBezTo>
                      <a:pt x="84" y="92"/>
                      <a:pt x="84" y="92"/>
                      <a:pt x="84" y="92"/>
                    </a:cubicBezTo>
                    <a:cubicBezTo>
                      <a:pt x="84" y="130"/>
                      <a:pt x="84" y="130"/>
                      <a:pt x="84" y="130"/>
                    </a:cubicBezTo>
                    <a:cubicBezTo>
                      <a:pt x="101" y="130"/>
                      <a:pt x="101" y="130"/>
                      <a:pt x="101" y="130"/>
                    </a:cubicBezTo>
                    <a:cubicBezTo>
                      <a:pt x="101" y="92"/>
                      <a:pt x="101" y="92"/>
                      <a:pt x="101" y="92"/>
                    </a:cubicBezTo>
                    <a:cubicBezTo>
                      <a:pt x="112" y="92"/>
                      <a:pt x="112" y="92"/>
                      <a:pt x="112" y="92"/>
                    </a:cubicBezTo>
                    <a:cubicBezTo>
                      <a:pt x="113" y="80"/>
                      <a:pt x="113" y="80"/>
                      <a:pt x="113" y="80"/>
                    </a:cubicBezTo>
                    <a:cubicBezTo>
                      <a:pt x="101" y="80"/>
                      <a:pt x="101" y="80"/>
                      <a:pt x="101" y="80"/>
                    </a:cubicBezTo>
                    <a:lnTo>
                      <a:pt x="101" y="72"/>
                    </a:lnTo>
                    <a:close/>
                    <a:moveTo>
                      <a:pt x="92" y="0"/>
                    </a:moveTo>
                    <a:cubicBezTo>
                      <a:pt x="41" y="0"/>
                      <a:pt x="0" y="41"/>
                      <a:pt x="0" y="92"/>
                    </a:cubicBezTo>
                    <a:cubicBezTo>
                      <a:pt x="0" y="144"/>
                      <a:pt x="41" y="185"/>
                      <a:pt x="92" y="185"/>
                    </a:cubicBezTo>
                    <a:cubicBezTo>
                      <a:pt x="144" y="185"/>
                      <a:pt x="185" y="144"/>
                      <a:pt x="185" y="92"/>
                    </a:cubicBezTo>
                    <a:cubicBezTo>
                      <a:pt x="185" y="41"/>
                      <a:pt x="144" y="0"/>
                      <a:pt x="92" y="0"/>
                    </a:cubicBezTo>
                    <a:close/>
                    <a:moveTo>
                      <a:pt x="92" y="177"/>
                    </a:moveTo>
                    <a:cubicBezTo>
                      <a:pt x="46" y="177"/>
                      <a:pt x="8" y="139"/>
                      <a:pt x="8" y="92"/>
                    </a:cubicBezTo>
                    <a:cubicBezTo>
                      <a:pt x="8" y="46"/>
                      <a:pt x="46" y="8"/>
                      <a:pt x="92" y="8"/>
                    </a:cubicBezTo>
                    <a:cubicBezTo>
                      <a:pt x="139" y="8"/>
                      <a:pt x="177" y="46"/>
                      <a:pt x="177" y="92"/>
                    </a:cubicBezTo>
                    <a:cubicBezTo>
                      <a:pt x="177" y="139"/>
                      <a:pt x="139" y="177"/>
                      <a:pt x="92"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5" name="Group 4">
              <a:extLst>
                <a:ext uri="{FF2B5EF4-FFF2-40B4-BE49-F238E27FC236}">
                  <a16:creationId xmlns:a16="http://schemas.microsoft.com/office/drawing/2014/main" id="{3E6AE92A-4D0C-4B31-A7E4-8125CE14952F}"/>
                </a:ext>
              </a:extLst>
            </p:cNvPr>
            <p:cNvGrpSpPr/>
            <p:nvPr userDrawn="1"/>
          </p:nvGrpSpPr>
          <p:grpSpPr>
            <a:xfrm>
              <a:off x="4178273" y="5636225"/>
              <a:ext cx="1309946" cy="282626"/>
              <a:chOff x="4178273" y="5636225"/>
              <a:chExt cx="1309946" cy="282626"/>
            </a:xfrm>
          </p:grpSpPr>
          <p:sp>
            <p:nvSpPr>
              <p:cNvPr id="11" name="Rectangle 10">
                <a:extLst>
                  <a:ext uri="{FF2B5EF4-FFF2-40B4-BE49-F238E27FC236}">
                    <a16:creationId xmlns:a16="http://schemas.microsoft.com/office/drawing/2014/main" id="{BCCACEB8-EBF4-4AE9-8BE2-91E44B86D881}"/>
                  </a:ext>
                </a:extLst>
              </p:cNvPr>
              <p:cNvSpPr/>
              <p:nvPr userDrawn="1"/>
            </p:nvSpPr>
            <p:spPr>
              <a:xfrm>
                <a:off x="4457168" y="5672001"/>
                <a:ext cx="1031051" cy="230832"/>
              </a:xfrm>
              <a:prstGeom prst="rect">
                <a:avLst/>
              </a:prstGeom>
            </p:spPr>
            <p:txBody>
              <a:bodyPr wrap="none">
                <a:spAutoFit/>
              </a:bodyPr>
              <a:lstStyle/>
              <a:p>
                <a:r>
                  <a:rPr lang="en-US" sz="900" dirty="0"/>
                  <a:t>@LakeCoHealth</a:t>
                </a:r>
              </a:p>
            </p:txBody>
          </p:sp>
          <p:sp>
            <p:nvSpPr>
              <p:cNvPr id="13" name="Freeform 311">
                <a:extLst>
                  <a:ext uri="{FF2B5EF4-FFF2-40B4-BE49-F238E27FC236}">
                    <a16:creationId xmlns:a16="http://schemas.microsoft.com/office/drawing/2014/main" id="{322EBEA5-0BC9-4FFF-82FB-4ECA2741C85E}"/>
                  </a:ext>
                </a:extLst>
              </p:cNvPr>
              <p:cNvSpPr>
                <a:spLocks noEditPoints="1"/>
              </p:cNvSpPr>
              <p:nvPr userDrawn="1"/>
            </p:nvSpPr>
            <p:spPr bwMode="auto">
              <a:xfrm>
                <a:off x="4178273" y="5636225"/>
                <a:ext cx="283464" cy="282626"/>
              </a:xfrm>
              <a:custGeom>
                <a:avLst/>
                <a:gdLst>
                  <a:gd name="T0" fmla="*/ 137 w 186"/>
                  <a:gd name="T1" fmla="*/ 60 h 185"/>
                  <a:gd name="T2" fmla="*/ 126 w 186"/>
                  <a:gd name="T3" fmla="*/ 64 h 185"/>
                  <a:gd name="T4" fmla="*/ 113 w 186"/>
                  <a:gd name="T5" fmla="*/ 59 h 185"/>
                  <a:gd name="T6" fmla="*/ 96 w 186"/>
                  <a:gd name="T7" fmla="*/ 76 h 185"/>
                  <a:gd name="T8" fmla="*/ 97 w 186"/>
                  <a:gd name="T9" fmla="*/ 80 h 185"/>
                  <a:gd name="T10" fmla="*/ 61 w 186"/>
                  <a:gd name="T11" fmla="*/ 62 h 185"/>
                  <a:gd name="T12" fmla="*/ 59 w 186"/>
                  <a:gd name="T13" fmla="*/ 70 h 185"/>
                  <a:gd name="T14" fmla="*/ 66 w 186"/>
                  <a:gd name="T15" fmla="*/ 84 h 185"/>
                  <a:gd name="T16" fmla="*/ 58 w 186"/>
                  <a:gd name="T17" fmla="*/ 82 h 185"/>
                  <a:gd name="T18" fmla="*/ 58 w 186"/>
                  <a:gd name="T19" fmla="*/ 83 h 185"/>
                  <a:gd name="T20" fmla="*/ 72 w 186"/>
                  <a:gd name="T21" fmla="*/ 99 h 185"/>
                  <a:gd name="T22" fmla="*/ 68 w 186"/>
                  <a:gd name="T23" fmla="*/ 100 h 185"/>
                  <a:gd name="T24" fmla="*/ 64 w 186"/>
                  <a:gd name="T25" fmla="*/ 100 h 185"/>
                  <a:gd name="T26" fmla="*/ 81 w 186"/>
                  <a:gd name="T27" fmla="*/ 111 h 185"/>
                  <a:gd name="T28" fmla="*/ 59 w 186"/>
                  <a:gd name="T29" fmla="*/ 119 h 185"/>
                  <a:gd name="T30" fmla="*/ 55 w 186"/>
                  <a:gd name="T31" fmla="*/ 118 h 185"/>
                  <a:gd name="T32" fmla="*/ 82 w 186"/>
                  <a:gd name="T33" fmla="*/ 126 h 185"/>
                  <a:gd name="T34" fmla="*/ 131 w 186"/>
                  <a:gd name="T35" fmla="*/ 78 h 185"/>
                  <a:gd name="T36" fmla="*/ 131 w 186"/>
                  <a:gd name="T37" fmla="*/ 75 h 185"/>
                  <a:gd name="T38" fmla="*/ 139 w 186"/>
                  <a:gd name="T39" fmla="*/ 67 h 185"/>
                  <a:gd name="T40" fmla="*/ 129 w 186"/>
                  <a:gd name="T41" fmla="*/ 69 h 185"/>
                  <a:gd name="T42" fmla="*/ 137 w 186"/>
                  <a:gd name="T43" fmla="*/ 60 h 185"/>
                  <a:gd name="T44" fmla="*/ 93 w 186"/>
                  <a:gd name="T45" fmla="*/ 0 h 185"/>
                  <a:gd name="T46" fmla="*/ 0 w 186"/>
                  <a:gd name="T47" fmla="*/ 92 h 185"/>
                  <a:gd name="T48" fmla="*/ 93 w 186"/>
                  <a:gd name="T49" fmla="*/ 185 h 185"/>
                  <a:gd name="T50" fmla="*/ 186 w 186"/>
                  <a:gd name="T51" fmla="*/ 92 h 185"/>
                  <a:gd name="T52" fmla="*/ 93 w 186"/>
                  <a:gd name="T53" fmla="*/ 0 h 185"/>
                  <a:gd name="T54" fmla="*/ 93 w 186"/>
                  <a:gd name="T55" fmla="*/ 177 h 185"/>
                  <a:gd name="T56" fmla="*/ 9 w 186"/>
                  <a:gd name="T57" fmla="*/ 92 h 185"/>
                  <a:gd name="T58" fmla="*/ 93 w 186"/>
                  <a:gd name="T59" fmla="*/ 8 h 185"/>
                  <a:gd name="T60" fmla="*/ 177 w 186"/>
                  <a:gd name="T61" fmla="*/ 92 h 185"/>
                  <a:gd name="T62" fmla="*/ 93 w 186"/>
                  <a:gd name="T6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5">
                    <a:moveTo>
                      <a:pt x="137" y="60"/>
                    </a:moveTo>
                    <a:cubicBezTo>
                      <a:pt x="134" y="62"/>
                      <a:pt x="130" y="63"/>
                      <a:pt x="126" y="64"/>
                    </a:cubicBezTo>
                    <a:cubicBezTo>
                      <a:pt x="123" y="61"/>
                      <a:pt x="118" y="59"/>
                      <a:pt x="113" y="59"/>
                    </a:cubicBezTo>
                    <a:cubicBezTo>
                      <a:pt x="104" y="59"/>
                      <a:pt x="96" y="66"/>
                      <a:pt x="96" y="76"/>
                    </a:cubicBezTo>
                    <a:cubicBezTo>
                      <a:pt x="96" y="77"/>
                      <a:pt x="96" y="78"/>
                      <a:pt x="97" y="80"/>
                    </a:cubicBezTo>
                    <a:cubicBezTo>
                      <a:pt x="82" y="79"/>
                      <a:pt x="69" y="72"/>
                      <a:pt x="61" y="62"/>
                    </a:cubicBezTo>
                    <a:cubicBezTo>
                      <a:pt x="59" y="64"/>
                      <a:pt x="59" y="67"/>
                      <a:pt x="59" y="70"/>
                    </a:cubicBezTo>
                    <a:cubicBezTo>
                      <a:pt x="59" y="76"/>
                      <a:pt x="62" y="81"/>
                      <a:pt x="66" y="84"/>
                    </a:cubicBezTo>
                    <a:cubicBezTo>
                      <a:pt x="63" y="84"/>
                      <a:pt x="61" y="84"/>
                      <a:pt x="58" y="82"/>
                    </a:cubicBezTo>
                    <a:cubicBezTo>
                      <a:pt x="58" y="82"/>
                      <a:pt x="58" y="82"/>
                      <a:pt x="58" y="83"/>
                    </a:cubicBezTo>
                    <a:cubicBezTo>
                      <a:pt x="58" y="91"/>
                      <a:pt x="64" y="98"/>
                      <a:pt x="72" y="99"/>
                    </a:cubicBezTo>
                    <a:cubicBezTo>
                      <a:pt x="71" y="100"/>
                      <a:pt x="69" y="100"/>
                      <a:pt x="68" y="100"/>
                    </a:cubicBezTo>
                    <a:cubicBezTo>
                      <a:pt x="67" y="100"/>
                      <a:pt x="66" y="100"/>
                      <a:pt x="64" y="100"/>
                    </a:cubicBezTo>
                    <a:cubicBezTo>
                      <a:pt x="67" y="106"/>
                      <a:pt x="73" y="111"/>
                      <a:pt x="81" y="111"/>
                    </a:cubicBezTo>
                    <a:cubicBezTo>
                      <a:pt x="75" y="116"/>
                      <a:pt x="67" y="119"/>
                      <a:pt x="59" y="119"/>
                    </a:cubicBezTo>
                    <a:cubicBezTo>
                      <a:pt x="58" y="119"/>
                      <a:pt x="56" y="119"/>
                      <a:pt x="55" y="118"/>
                    </a:cubicBezTo>
                    <a:cubicBezTo>
                      <a:pt x="63" y="123"/>
                      <a:pt x="72" y="126"/>
                      <a:pt x="82" y="126"/>
                    </a:cubicBezTo>
                    <a:cubicBezTo>
                      <a:pt x="113" y="126"/>
                      <a:pt x="131" y="100"/>
                      <a:pt x="131" y="78"/>
                    </a:cubicBezTo>
                    <a:cubicBezTo>
                      <a:pt x="131" y="77"/>
                      <a:pt x="131" y="76"/>
                      <a:pt x="131" y="75"/>
                    </a:cubicBezTo>
                    <a:cubicBezTo>
                      <a:pt x="134" y="73"/>
                      <a:pt x="137" y="70"/>
                      <a:pt x="139" y="67"/>
                    </a:cubicBezTo>
                    <a:cubicBezTo>
                      <a:pt x="136" y="68"/>
                      <a:pt x="133" y="69"/>
                      <a:pt x="129" y="69"/>
                    </a:cubicBezTo>
                    <a:cubicBezTo>
                      <a:pt x="133" y="67"/>
                      <a:pt x="136" y="64"/>
                      <a:pt x="137" y="60"/>
                    </a:cubicBezTo>
                    <a:close/>
                    <a:moveTo>
                      <a:pt x="93" y="0"/>
                    </a:moveTo>
                    <a:cubicBezTo>
                      <a:pt x="42" y="0"/>
                      <a:pt x="0" y="41"/>
                      <a:pt x="0" y="92"/>
                    </a:cubicBezTo>
                    <a:cubicBezTo>
                      <a:pt x="0" y="144"/>
                      <a:pt x="42" y="185"/>
                      <a:pt x="93" y="185"/>
                    </a:cubicBezTo>
                    <a:cubicBezTo>
                      <a:pt x="144" y="185"/>
                      <a:pt x="186" y="144"/>
                      <a:pt x="186" y="92"/>
                    </a:cubicBezTo>
                    <a:cubicBezTo>
                      <a:pt x="186" y="41"/>
                      <a:pt x="144" y="0"/>
                      <a:pt x="93" y="0"/>
                    </a:cubicBezTo>
                    <a:close/>
                    <a:moveTo>
                      <a:pt x="93" y="177"/>
                    </a:moveTo>
                    <a:cubicBezTo>
                      <a:pt x="46" y="177"/>
                      <a:pt x="9" y="139"/>
                      <a:pt x="9" y="92"/>
                    </a:cubicBezTo>
                    <a:cubicBezTo>
                      <a:pt x="9" y="46"/>
                      <a:pt x="46" y="8"/>
                      <a:pt x="93" y="8"/>
                    </a:cubicBezTo>
                    <a:cubicBezTo>
                      <a:pt x="140" y="8"/>
                      <a:pt x="177" y="46"/>
                      <a:pt x="177" y="92"/>
                    </a:cubicBezTo>
                    <a:cubicBezTo>
                      <a:pt x="177" y="139"/>
                      <a:pt x="140" y="177"/>
                      <a:pt x="93"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4" name="Group 3">
              <a:extLst>
                <a:ext uri="{FF2B5EF4-FFF2-40B4-BE49-F238E27FC236}">
                  <a16:creationId xmlns:a16="http://schemas.microsoft.com/office/drawing/2014/main" id="{06949808-114A-4B6C-8603-0981BC0F4BAF}"/>
                </a:ext>
              </a:extLst>
            </p:cNvPr>
            <p:cNvGrpSpPr/>
            <p:nvPr userDrawn="1"/>
          </p:nvGrpSpPr>
          <p:grpSpPr>
            <a:xfrm>
              <a:off x="5906814" y="5636225"/>
              <a:ext cx="1378922" cy="279033"/>
              <a:chOff x="5906814" y="5636225"/>
              <a:chExt cx="1378922" cy="279033"/>
            </a:xfrm>
          </p:grpSpPr>
          <p:sp>
            <p:nvSpPr>
              <p:cNvPr id="18" name="Shape 3899">
                <a:extLst>
                  <a:ext uri="{FF2B5EF4-FFF2-40B4-BE49-F238E27FC236}">
                    <a16:creationId xmlns:a16="http://schemas.microsoft.com/office/drawing/2014/main" id="{DDA8D3FD-7361-4C36-9BE3-14D77711C3DD}"/>
                  </a:ext>
                </a:extLst>
              </p:cNvPr>
              <p:cNvSpPr/>
              <p:nvPr userDrawn="1"/>
            </p:nvSpPr>
            <p:spPr>
              <a:xfrm>
                <a:off x="5906814" y="5636225"/>
                <a:ext cx="279033" cy="27903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lumMod val="50000"/>
                  <a:lumOff val="50000"/>
                </a:schemeClr>
              </a:solidFill>
              <a:ln w="12700">
                <a:miter lim="400000"/>
              </a:ln>
            </p:spPr>
            <p:txBody>
              <a:bodyPr lIns="38100" tIns="38100" rIns="38100" bIns="38100" anchor="ctr"/>
              <a:lstStyle/>
              <a:p>
                <a:endParaRPr sz="1800" dirty="0">
                  <a:solidFill>
                    <a:prstClr val="black"/>
                  </a:solidFill>
                </a:endParaRPr>
              </a:p>
            </p:txBody>
          </p:sp>
          <p:sp>
            <p:nvSpPr>
              <p:cNvPr id="19" name="Rectangle 18">
                <a:extLst>
                  <a:ext uri="{FF2B5EF4-FFF2-40B4-BE49-F238E27FC236}">
                    <a16:creationId xmlns:a16="http://schemas.microsoft.com/office/drawing/2014/main" id="{E4201360-DF70-47EF-9FC8-CB1BC2C7368C}"/>
                  </a:ext>
                </a:extLst>
              </p:cNvPr>
              <p:cNvSpPr/>
              <p:nvPr userDrawn="1"/>
            </p:nvSpPr>
            <p:spPr>
              <a:xfrm>
                <a:off x="6192167" y="5660325"/>
                <a:ext cx="1093569" cy="230832"/>
              </a:xfrm>
              <a:prstGeom prst="rect">
                <a:avLst/>
              </a:prstGeom>
            </p:spPr>
            <p:txBody>
              <a:bodyPr wrap="none">
                <a:spAutoFit/>
              </a:bodyPr>
              <a:lstStyle/>
              <a:p>
                <a:r>
                  <a:rPr lang="en-US" sz="900" dirty="0"/>
                  <a:t>HealthDepartment</a:t>
                </a:r>
              </a:p>
            </p:txBody>
          </p:sp>
        </p:grpSp>
      </p:grpSp>
      <p:pic>
        <p:nvPicPr>
          <p:cNvPr id="22" name="Picture 21">
            <a:extLst>
              <a:ext uri="{FF2B5EF4-FFF2-40B4-BE49-F238E27FC236}">
                <a16:creationId xmlns:a16="http://schemas.microsoft.com/office/drawing/2014/main" id="{50B6A4DE-6432-4821-B7AC-353A82B282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70117" y="1503517"/>
            <a:ext cx="4507948" cy="1335480"/>
          </a:xfrm>
          <a:prstGeom prst="rect">
            <a:avLst/>
          </a:prstGeom>
        </p:spPr>
      </p:pic>
    </p:spTree>
    <p:extLst>
      <p:ext uri="{BB962C8B-B14F-4D97-AF65-F5344CB8AC3E}">
        <p14:creationId xmlns:p14="http://schemas.microsoft.com/office/powerpoint/2010/main" val="356094964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End Title - 3010 Gra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F5C557-5E21-455D-9C20-1C6DB1B3DBE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r="11111" b="-141"/>
          <a:stretch/>
        </p:blipFill>
        <p:spPr>
          <a:xfrm>
            <a:off x="0" y="-1"/>
            <a:ext cx="12192000" cy="6867660"/>
          </a:xfrm>
          <a:prstGeom prst="rect">
            <a:avLst/>
          </a:prstGeom>
        </p:spPr>
      </p:pic>
      <p:sp>
        <p:nvSpPr>
          <p:cNvPr id="8" name="Rectangle 7">
            <a:extLst>
              <a:ext uri="{FF2B5EF4-FFF2-40B4-BE49-F238E27FC236}">
                <a16:creationId xmlns:a16="http://schemas.microsoft.com/office/drawing/2014/main" id="{EBDF7C4C-4A12-479D-B86B-6494947CA85C}"/>
              </a:ext>
            </a:extLst>
          </p:cNvPr>
          <p:cNvSpPr/>
          <p:nvPr userDrawn="1"/>
        </p:nvSpPr>
        <p:spPr>
          <a:xfrm>
            <a:off x="670603" y="582938"/>
            <a:ext cx="10850796" cy="5692127"/>
          </a:xfrm>
          <a:prstGeom prst="rect">
            <a:avLst/>
          </a:prstGeom>
          <a:solidFill>
            <a:schemeClr val="bg1">
              <a:alpha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75" dirty="0"/>
          </a:p>
        </p:txBody>
      </p:sp>
      <p:sp>
        <p:nvSpPr>
          <p:cNvPr id="9" name="Rectangle 8">
            <a:extLst>
              <a:ext uri="{FF2B5EF4-FFF2-40B4-BE49-F238E27FC236}">
                <a16:creationId xmlns:a16="http://schemas.microsoft.com/office/drawing/2014/main" id="{C5B1B364-5059-43D6-AF70-E1B60213278E}"/>
              </a:ext>
            </a:extLst>
          </p:cNvPr>
          <p:cNvSpPr/>
          <p:nvPr userDrawn="1"/>
        </p:nvSpPr>
        <p:spPr>
          <a:xfrm>
            <a:off x="3658731" y="4654351"/>
            <a:ext cx="4874539" cy="998401"/>
          </a:xfrm>
          <a:prstGeom prst="rect">
            <a:avLst/>
          </a:prstGeom>
        </p:spPr>
        <p:txBody>
          <a:bodyPr wrap="square" lIns="91424" tIns="45713" rIns="91424" bIns="45713">
            <a:spAutoFit/>
          </a:bodyPr>
          <a:lstStyle/>
          <a:p>
            <a:pPr algn="ctr"/>
            <a:endParaRPr lang="en-US" sz="1200" dirty="0"/>
          </a:p>
          <a:p>
            <a:pPr algn="ctr"/>
            <a:r>
              <a:rPr lang="en-US" sz="1200" dirty="0"/>
              <a:t>3010 Grand Avenue, Waukegan, Illinois 60085</a:t>
            </a:r>
            <a:br>
              <a:rPr lang="en-US" sz="1200" dirty="0"/>
            </a:br>
            <a:r>
              <a:rPr lang="en-US" sz="1200" dirty="0"/>
              <a:t>(847) 377-8000</a:t>
            </a:r>
          </a:p>
          <a:p>
            <a:pPr algn="ctr" defTabSz="685663"/>
            <a:r>
              <a:rPr lang="en-US" sz="1200" dirty="0"/>
              <a:t>health.lakecountyil.gov</a:t>
            </a:r>
          </a:p>
          <a:p>
            <a:pPr algn="ctr" defTabSz="685663"/>
            <a:endParaRPr lang="en-US" sz="1088" dirty="0"/>
          </a:p>
        </p:txBody>
      </p:sp>
      <p:cxnSp>
        <p:nvCxnSpPr>
          <p:cNvPr id="15" name="Straight Connector 14">
            <a:extLst>
              <a:ext uri="{FF2B5EF4-FFF2-40B4-BE49-F238E27FC236}">
                <a16:creationId xmlns:a16="http://schemas.microsoft.com/office/drawing/2014/main" id="{2C763EDB-07A1-47B2-AF9C-81568B459EAC}"/>
              </a:ext>
            </a:extLst>
          </p:cNvPr>
          <p:cNvCxnSpPr/>
          <p:nvPr userDrawn="1"/>
        </p:nvCxnSpPr>
        <p:spPr>
          <a:xfrm>
            <a:off x="3228110" y="4704077"/>
            <a:ext cx="5735781"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2" descr="https://www.jointcommission.org/assets/1/6/GoldSeal_4color.jpg">
            <a:extLst>
              <a:ext uri="{FF2B5EF4-FFF2-40B4-BE49-F238E27FC236}">
                <a16:creationId xmlns:a16="http://schemas.microsoft.com/office/drawing/2014/main" id="{0BE8AD7D-3420-4FB8-BDFA-41699CF1FA6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201662" y="3075919"/>
            <a:ext cx="1788677" cy="1341508"/>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BD1A0ED-D886-427C-B685-AFE9ADDF2496}"/>
              </a:ext>
            </a:extLst>
          </p:cNvPr>
          <p:cNvGrpSpPr/>
          <p:nvPr userDrawn="1"/>
        </p:nvGrpSpPr>
        <p:grpSpPr>
          <a:xfrm>
            <a:off x="2746082" y="5591775"/>
            <a:ext cx="6699839" cy="282626"/>
            <a:chOff x="2260857" y="5636225"/>
            <a:chExt cx="5024879" cy="282626"/>
          </a:xfrm>
        </p:grpSpPr>
        <p:grpSp>
          <p:nvGrpSpPr>
            <p:cNvPr id="20" name="Group 19">
              <a:extLst>
                <a:ext uri="{FF2B5EF4-FFF2-40B4-BE49-F238E27FC236}">
                  <a16:creationId xmlns:a16="http://schemas.microsoft.com/office/drawing/2014/main" id="{B0BEE658-5FC2-41C1-AE02-6DFEAE7ED21B}"/>
                </a:ext>
              </a:extLst>
            </p:cNvPr>
            <p:cNvGrpSpPr/>
            <p:nvPr userDrawn="1"/>
          </p:nvGrpSpPr>
          <p:grpSpPr>
            <a:xfrm>
              <a:off x="2260857" y="5636225"/>
              <a:ext cx="1350547" cy="282626"/>
              <a:chOff x="2260857" y="5636225"/>
              <a:chExt cx="1350547" cy="282626"/>
            </a:xfrm>
          </p:grpSpPr>
          <p:sp>
            <p:nvSpPr>
              <p:cNvPr id="10" name="Rectangle 9">
                <a:extLst>
                  <a:ext uri="{FF2B5EF4-FFF2-40B4-BE49-F238E27FC236}">
                    <a16:creationId xmlns:a16="http://schemas.microsoft.com/office/drawing/2014/main" id="{EA3BC408-ACA6-4ADA-AA57-B5B4023B2F40}"/>
                  </a:ext>
                </a:extLst>
              </p:cNvPr>
              <p:cNvSpPr/>
              <p:nvPr userDrawn="1"/>
            </p:nvSpPr>
            <p:spPr>
              <a:xfrm>
                <a:off x="2543483" y="5673664"/>
                <a:ext cx="1067921" cy="230832"/>
              </a:xfrm>
              <a:prstGeom prst="rect">
                <a:avLst/>
              </a:prstGeom>
            </p:spPr>
            <p:txBody>
              <a:bodyPr wrap="none">
                <a:spAutoFit/>
              </a:bodyPr>
              <a:lstStyle/>
              <a:p>
                <a:r>
                  <a:rPr lang="en-US" sz="900" dirty="0"/>
                  <a:t>HealthDepartment</a:t>
                </a:r>
              </a:p>
            </p:txBody>
          </p:sp>
          <p:sp>
            <p:nvSpPr>
              <p:cNvPr id="12" name="Freeform 312">
                <a:extLst>
                  <a:ext uri="{FF2B5EF4-FFF2-40B4-BE49-F238E27FC236}">
                    <a16:creationId xmlns:a16="http://schemas.microsoft.com/office/drawing/2014/main" id="{F3852112-C658-41A1-8D16-D75C465A1F95}"/>
                  </a:ext>
                </a:extLst>
              </p:cNvPr>
              <p:cNvSpPr>
                <a:spLocks noEditPoints="1"/>
              </p:cNvSpPr>
              <p:nvPr userDrawn="1"/>
            </p:nvSpPr>
            <p:spPr bwMode="auto">
              <a:xfrm>
                <a:off x="2260857" y="5636225"/>
                <a:ext cx="282626" cy="282626"/>
              </a:xfrm>
              <a:custGeom>
                <a:avLst/>
                <a:gdLst>
                  <a:gd name="T0" fmla="*/ 101 w 185"/>
                  <a:gd name="T1" fmla="*/ 72 h 185"/>
                  <a:gd name="T2" fmla="*/ 106 w 185"/>
                  <a:gd name="T3" fmla="*/ 67 h 185"/>
                  <a:gd name="T4" fmla="*/ 113 w 185"/>
                  <a:gd name="T5" fmla="*/ 67 h 185"/>
                  <a:gd name="T6" fmla="*/ 113 w 185"/>
                  <a:gd name="T7" fmla="*/ 54 h 185"/>
                  <a:gd name="T8" fmla="*/ 102 w 185"/>
                  <a:gd name="T9" fmla="*/ 54 h 185"/>
                  <a:gd name="T10" fmla="*/ 84 w 185"/>
                  <a:gd name="T11" fmla="*/ 71 h 185"/>
                  <a:gd name="T12" fmla="*/ 84 w 185"/>
                  <a:gd name="T13" fmla="*/ 80 h 185"/>
                  <a:gd name="T14" fmla="*/ 75 w 185"/>
                  <a:gd name="T15" fmla="*/ 80 h 185"/>
                  <a:gd name="T16" fmla="*/ 75 w 185"/>
                  <a:gd name="T17" fmla="*/ 92 h 185"/>
                  <a:gd name="T18" fmla="*/ 84 w 185"/>
                  <a:gd name="T19" fmla="*/ 92 h 185"/>
                  <a:gd name="T20" fmla="*/ 84 w 185"/>
                  <a:gd name="T21" fmla="*/ 130 h 185"/>
                  <a:gd name="T22" fmla="*/ 101 w 185"/>
                  <a:gd name="T23" fmla="*/ 130 h 185"/>
                  <a:gd name="T24" fmla="*/ 101 w 185"/>
                  <a:gd name="T25" fmla="*/ 92 h 185"/>
                  <a:gd name="T26" fmla="*/ 112 w 185"/>
                  <a:gd name="T27" fmla="*/ 92 h 185"/>
                  <a:gd name="T28" fmla="*/ 113 w 185"/>
                  <a:gd name="T29" fmla="*/ 80 h 185"/>
                  <a:gd name="T30" fmla="*/ 101 w 185"/>
                  <a:gd name="T31" fmla="*/ 80 h 185"/>
                  <a:gd name="T32" fmla="*/ 101 w 185"/>
                  <a:gd name="T33" fmla="*/ 72 h 185"/>
                  <a:gd name="T34" fmla="*/ 92 w 185"/>
                  <a:gd name="T35" fmla="*/ 0 h 185"/>
                  <a:gd name="T36" fmla="*/ 0 w 185"/>
                  <a:gd name="T37" fmla="*/ 92 h 185"/>
                  <a:gd name="T38" fmla="*/ 92 w 185"/>
                  <a:gd name="T39" fmla="*/ 185 h 185"/>
                  <a:gd name="T40" fmla="*/ 185 w 185"/>
                  <a:gd name="T41" fmla="*/ 92 h 185"/>
                  <a:gd name="T42" fmla="*/ 92 w 185"/>
                  <a:gd name="T43" fmla="*/ 0 h 185"/>
                  <a:gd name="T44" fmla="*/ 92 w 185"/>
                  <a:gd name="T45" fmla="*/ 177 h 185"/>
                  <a:gd name="T46" fmla="*/ 8 w 185"/>
                  <a:gd name="T47" fmla="*/ 92 h 185"/>
                  <a:gd name="T48" fmla="*/ 92 w 185"/>
                  <a:gd name="T49" fmla="*/ 8 h 185"/>
                  <a:gd name="T50" fmla="*/ 177 w 185"/>
                  <a:gd name="T51" fmla="*/ 92 h 185"/>
                  <a:gd name="T52" fmla="*/ 92 w 185"/>
                  <a:gd name="T5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185">
                    <a:moveTo>
                      <a:pt x="101" y="72"/>
                    </a:moveTo>
                    <a:cubicBezTo>
                      <a:pt x="101" y="69"/>
                      <a:pt x="101" y="67"/>
                      <a:pt x="106" y="67"/>
                    </a:cubicBezTo>
                    <a:cubicBezTo>
                      <a:pt x="113" y="67"/>
                      <a:pt x="113" y="67"/>
                      <a:pt x="113" y="67"/>
                    </a:cubicBezTo>
                    <a:cubicBezTo>
                      <a:pt x="113" y="54"/>
                      <a:pt x="113" y="54"/>
                      <a:pt x="113" y="54"/>
                    </a:cubicBezTo>
                    <a:cubicBezTo>
                      <a:pt x="102" y="54"/>
                      <a:pt x="102" y="54"/>
                      <a:pt x="102" y="54"/>
                    </a:cubicBezTo>
                    <a:cubicBezTo>
                      <a:pt x="89" y="54"/>
                      <a:pt x="84" y="61"/>
                      <a:pt x="84" y="71"/>
                    </a:cubicBezTo>
                    <a:cubicBezTo>
                      <a:pt x="84" y="80"/>
                      <a:pt x="84" y="80"/>
                      <a:pt x="84" y="80"/>
                    </a:cubicBezTo>
                    <a:cubicBezTo>
                      <a:pt x="75" y="80"/>
                      <a:pt x="75" y="80"/>
                      <a:pt x="75" y="80"/>
                    </a:cubicBezTo>
                    <a:cubicBezTo>
                      <a:pt x="75" y="92"/>
                      <a:pt x="75" y="92"/>
                      <a:pt x="75" y="92"/>
                    </a:cubicBezTo>
                    <a:cubicBezTo>
                      <a:pt x="84" y="92"/>
                      <a:pt x="84" y="92"/>
                      <a:pt x="84" y="92"/>
                    </a:cubicBezTo>
                    <a:cubicBezTo>
                      <a:pt x="84" y="130"/>
                      <a:pt x="84" y="130"/>
                      <a:pt x="84" y="130"/>
                    </a:cubicBezTo>
                    <a:cubicBezTo>
                      <a:pt x="101" y="130"/>
                      <a:pt x="101" y="130"/>
                      <a:pt x="101" y="130"/>
                    </a:cubicBezTo>
                    <a:cubicBezTo>
                      <a:pt x="101" y="92"/>
                      <a:pt x="101" y="92"/>
                      <a:pt x="101" y="92"/>
                    </a:cubicBezTo>
                    <a:cubicBezTo>
                      <a:pt x="112" y="92"/>
                      <a:pt x="112" y="92"/>
                      <a:pt x="112" y="92"/>
                    </a:cubicBezTo>
                    <a:cubicBezTo>
                      <a:pt x="113" y="80"/>
                      <a:pt x="113" y="80"/>
                      <a:pt x="113" y="80"/>
                    </a:cubicBezTo>
                    <a:cubicBezTo>
                      <a:pt x="101" y="80"/>
                      <a:pt x="101" y="80"/>
                      <a:pt x="101" y="80"/>
                    </a:cubicBezTo>
                    <a:lnTo>
                      <a:pt x="101" y="72"/>
                    </a:lnTo>
                    <a:close/>
                    <a:moveTo>
                      <a:pt x="92" y="0"/>
                    </a:moveTo>
                    <a:cubicBezTo>
                      <a:pt x="41" y="0"/>
                      <a:pt x="0" y="41"/>
                      <a:pt x="0" y="92"/>
                    </a:cubicBezTo>
                    <a:cubicBezTo>
                      <a:pt x="0" y="144"/>
                      <a:pt x="41" y="185"/>
                      <a:pt x="92" y="185"/>
                    </a:cubicBezTo>
                    <a:cubicBezTo>
                      <a:pt x="144" y="185"/>
                      <a:pt x="185" y="144"/>
                      <a:pt x="185" y="92"/>
                    </a:cubicBezTo>
                    <a:cubicBezTo>
                      <a:pt x="185" y="41"/>
                      <a:pt x="144" y="0"/>
                      <a:pt x="92" y="0"/>
                    </a:cubicBezTo>
                    <a:close/>
                    <a:moveTo>
                      <a:pt x="92" y="177"/>
                    </a:moveTo>
                    <a:cubicBezTo>
                      <a:pt x="46" y="177"/>
                      <a:pt x="8" y="139"/>
                      <a:pt x="8" y="92"/>
                    </a:cubicBezTo>
                    <a:cubicBezTo>
                      <a:pt x="8" y="46"/>
                      <a:pt x="46" y="8"/>
                      <a:pt x="92" y="8"/>
                    </a:cubicBezTo>
                    <a:cubicBezTo>
                      <a:pt x="139" y="8"/>
                      <a:pt x="177" y="46"/>
                      <a:pt x="177" y="92"/>
                    </a:cubicBezTo>
                    <a:cubicBezTo>
                      <a:pt x="177" y="139"/>
                      <a:pt x="139" y="177"/>
                      <a:pt x="92"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5" name="Group 4">
              <a:extLst>
                <a:ext uri="{FF2B5EF4-FFF2-40B4-BE49-F238E27FC236}">
                  <a16:creationId xmlns:a16="http://schemas.microsoft.com/office/drawing/2014/main" id="{3E6AE92A-4D0C-4B31-A7E4-8125CE14952F}"/>
                </a:ext>
              </a:extLst>
            </p:cNvPr>
            <p:cNvGrpSpPr/>
            <p:nvPr userDrawn="1"/>
          </p:nvGrpSpPr>
          <p:grpSpPr>
            <a:xfrm>
              <a:off x="4178273" y="5636225"/>
              <a:ext cx="1309946" cy="282626"/>
              <a:chOff x="4178273" y="5636225"/>
              <a:chExt cx="1309946" cy="282626"/>
            </a:xfrm>
          </p:grpSpPr>
          <p:sp>
            <p:nvSpPr>
              <p:cNvPr id="11" name="Rectangle 10">
                <a:extLst>
                  <a:ext uri="{FF2B5EF4-FFF2-40B4-BE49-F238E27FC236}">
                    <a16:creationId xmlns:a16="http://schemas.microsoft.com/office/drawing/2014/main" id="{BCCACEB8-EBF4-4AE9-8BE2-91E44B86D881}"/>
                  </a:ext>
                </a:extLst>
              </p:cNvPr>
              <p:cNvSpPr/>
              <p:nvPr userDrawn="1"/>
            </p:nvSpPr>
            <p:spPr>
              <a:xfrm>
                <a:off x="4457168" y="5672001"/>
                <a:ext cx="1031051" cy="230832"/>
              </a:xfrm>
              <a:prstGeom prst="rect">
                <a:avLst/>
              </a:prstGeom>
            </p:spPr>
            <p:txBody>
              <a:bodyPr wrap="none">
                <a:spAutoFit/>
              </a:bodyPr>
              <a:lstStyle/>
              <a:p>
                <a:r>
                  <a:rPr lang="en-US" sz="900" dirty="0"/>
                  <a:t>@LakeCoHealth</a:t>
                </a:r>
              </a:p>
            </p:txBody>
          </p:sp>
          <p:sp>
            <p:nvSpPr>
              <p:cNvPr id="13" name="Freeform 311">
                <a:extLst>
                  <a:ext uri="{FF2B5EF4-FFF2-40B4-BE49-F238E27FC236}">
                    <a16:creationId xmlns:a16="http://schemas.microsoft.com/office/drawing/2014/main" id="{322EBEA5-0BC9-4FFF-82FB-4ECA2741C85E}"/>
                  </a:ext>
                </a:extLst>
              </p:cNvPr>
              <p:cNvSpPr>
                <a:spLocks noEditPoints="1"/>
              </p:cNvSpPr>
              <p:nvPr userDrawn="1"/>
            </p:nvSpPr>
            <p:spPr bwMode="auto">
              <a:xfrm>
                <a:off x="4178273" y="5636225"/>
                <a:ext cx="283464" cy="282626"/>
              </a:xfrm>
              <a:custGeom>
                <a:avLst/>
                <a:gdLst>
                  <a:gd name="T0" fmla="*/ 137 w 186"/>
                  <a:gd name="T1" fmla="*/ 60 h 185"/>
                  <a:gd name="T2" fmla="*/ 126 w 186"/>
                  <a:gd name="T3" fmla="*/ 64 h 185"/>
                  <a:gd name="T4" fmla="*/ 113 w 186"/>
                  <a:gd name="T5" fmla="*/ 59 h 185"/>
                  <a:gd name="T6" fmla="*/ 96 w 186"/>
                  <a:gd name="T7" fmla="*/ 76 h 185"/>
                  <a:gd name="T8" fmla="*/ 97 w 186"/>
                  <a:gd name="T9" fmla="*/ 80 h 185"/>
                  <a:gd name="T10" fmla="*/ 61 w 186"/>
                  <a:gd name="T11" fmla="*/ 62 h 185"/>
                  <a:gd name="T12" fmla="*/ 59 w 186"/>
                  <a:gd name="T13" fmla="*/ 70 h 185"/>
                  <a:gd name="T14" fmla="*/ 66 w 186"/>
                  <a:gd name="T15" fmla="*/ 84 h 185"/>
                  <a:gd name="T16" fmla="*/ 58 w 186"/>
                  <a:gd name="T17" fmla="*/ 82 h 185"/>
                  <a:gd name="T18" fmla="*/ 58 w 186"/>
                  <a:gd name="T19" fmla="*/ 83 h 185"/>
                  <a:gd name="T20" fmla="*/ 72 w 186"/>
                  <a:gd name="T21" fmla="*/ 99 h 185"/>
                  <a:gd name="T22" fmla="*/ 68 w 186"/>
                  <a:gd name="T23" fmla="*/ 100 h 185"/>
                  <a:gd name="T24" fmla="*/ 64 w 186"/>
                  <a:gd name="T25" fmla="*/ 100 h 185"/>
                  <a:gd name="T26" fmla="*/ 81 w 186"/>
                  <a:gd name="T27" fmla="*/ 111 h 185"/>
                  <a:gd name="T28" fmla="*/ 59 w 186"/>
                  <a:gd name="T29" fmla="*/ 119 h 185"/>
                  <a:gd name="T30" fmla="*/ 55 w 186"/>
                  <a:gd name="T31" fmla="*/ 118 h 185"/>
                  <a:gd name="T32" fmla="*/ 82 w 186"/>
                  <a:gd name="T33" fmla="*/ 126 h 185"/>
                  <a:gd name="T34" fmla="*/ 131 w 186"/>
                  <a:gd name="T35" fmla="*/ 78 h 185"/>
                  <a:gd name="T36" fmla="*/ 131 w 186"/>
                  <a:gd name="T37" fmla="*/ 75 h 185"/>
                  <a:gd name="T38" fmla="*/ 139 w 186"/>
                  <a:gd name="T39" fmla="*/ 67 h 185"/>
                  <a:gd name="T40" fmla="*/ 129 w 186"/>
                  <a:gd name="T41" fmla="*/ 69 h 185"/>
                  <a:gd name="T42" fmla="*/ 137 w 186"/>
                  <a:gd name="T43" fmla="*/ 60 h 185"/>
                  <a:gd name="T44" fmla="*/ 93 w 186"/>
                  <a:gd name="T45" fmla="*/ 0 h 185"/>
                  <a:gd name="T46" fmla="*/ 0 w 186"/>
                  <a:gd name="T47" fmla="*/ 92 h 185"/>
                  <a:gd name="T48" fmla="*/ 93 w 186"/>
                  <a:gd name="T49" fmla="*/ 185 h 185"/>
                  <a:gd name="T50" fmla="*/ 186 w 186"/>
                  <a:gd name="T51" fmla="*/ 92 h 185"/>
                  <a:gd name="T52" fmla="*/ 93 w 186"/>
                  <a:gd name="T53" fmla="*/ 0 h 185"/>
                  <a:gd name="T54" fmla="*/ 93 w 186"/>
                  <a:gd name="T55" fmla="*/ 177 h 185"/>
                  <a:gd name="T56" fmla="*/ 9 w 186"/>
                  <a:gd name="T57" fmla="*/ 92 h 185"/>
                  <a:gd name="T58" fmla="*/ 93 w 186"/>
                  <a:gd name="T59" fmla="*/ 8 h 185"/>
                  <a:gd name="T60" fmla="*/ 177 w 186"/>
                  <a:gd name="T61" fmla="*/ 92 h 185"/>
                  <a:gd name="T62" fmla="*/ 93 w 186"/>
                  <a:gd name="T63"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5">
                    <a:moveTo>
                      <a:pt x="137" y="60"/>
                    </a:moveTo>
                    <a:cubicBezTo>
                      <a:pt x="134" y="62"/>
                      <a:pt x="130" y="63"/>
                      <a:pt x="126" y="64"/>
                    </a:cubicBezTo>
                    <a:cubicBezTo>
                      <a:pt x="123" y="61"/>
                      <a:pt x="118" y="59"/>
                      <a:pt x="113" y="59"/>
                    </a:cubicBezTo>
                    <a:cubicBezTo>
                      <a:pt x="104" y="59"/>
                      <a:pt x="96" y="66"/>
                      <a:pt x="96" y="76"/>
                    </a:cubicBezTo>
                    <a:cubicBezTo>
                      <a:pt x="96" y="77"/>
                      <a:pt x="96" y="78"/>
                      <a:pt x="97" y="80"/>
                    </a:cubicBezTo>
                    <a:cubicBezTo>
                      <a:pt x="82" y="79"/>
                      <a:pt x="69" y="72"/>
                      <a:pt x="61" y="62"/>
                    </a:cubicBezTo>
                    <a:cubicBezTo>
                      <a:pt x="59" y="64"/>
                      <a:pt x="59" y="67"/>
                      <a:pt x="59" y="70"/>
                    </a:cubicBezTo>
                    <a:cubicBezTo>
                      <a:pt x="59" y="76"/>
                      <a:pt x="62" y="81"/>
                      <a:pt x="66" y="84"/>
                    </a:cubicBezTo>
                    <a:cubicBezTo>
                      <a:pt x="63" y="84"/>
                      <a:pt x="61" y="84"/>
                      <a:pt x="58" y="82"/>
                    </a:cubicBezTo>
                    <a:cubicBezTo>
                      <a:pt x="58" y="82"/>
                      <a:pt x="58" y="82"/>
                      <a:pt x="58" y="83"/>
                    </a:cubicBezTo>
                    <a:cubicBezTo>
                      <a:pt x="58" y="91"/>
                      <a:pt x="64" y="98"/>
                      <a:pt x="72" y="99"/>
                    </a:cubicBezTo>
                    <a:cubicBezTo>
                      <a:pt x="71" y="100"/>
                      <a:pt x="69" y="100"/>
                      <a:pt x="68" y="100"/>
                    </a:cubicBezTo>
                    <a:cubicBezTo>
                      <a:pt x="67" y="100"/>
                      <a:pt x="66" y="100"/>
                      <a:pt x="64" y="100"/>
                    </a:cubicBezTo>
                    <a:cubicBezTo>
                      <a:pt x="67" y="106"/>
                      <a:pt x="73" y="111"/>
                      <a:pt x="81" y="111"/>
                    </a:cubicBezTo>
                    <a:cubicBezTo>
                      <a:pt x="75" y="116"/>
                      <a:pt x="67" y="119"/>
                      <a:pt x="59" y="119"/>
                    </a:cubicBezTo>
                    <a:cubicBezTo>
                      <a:pt x="58" y="119"/>
                      <a:pt x="56" y="119"/>
                      <a:pt x="55" y="118"/>
                    </a:cubicBezTo>
                    <a:cubicBezTo>
                      <a:pt x="63" y="123"/>
                      <a:pt x="72" y="126"/>
                      <a:pt x="82" y="126"/>
                    </a:cubicBezTo>
                    <a:cubicBezTo>
                      <a:pt x="113" y="126"/>
                      <a:pt x="131" y="100"/>
                      <a:pt x="131" y="78"/>
                    </a:cubicBezTo>
                    <a:cubicBezTo>
                      <a:pt x="131" y="77"/>
                      <a:pt x="131" y="76"/>
                      <a:pt x="131" y="75"/>
                    </a:cubicBezTo>
                    <a:cubicBezTo>
                      <a:pt x="134" y="73"/>
                      <a:pt x="137" y="70"/>
                      <a:pt x="139" y="67"/>
                    </a:cubicBezTo>
                    <a:cubicBezTo>
                      <a:pt x="136" y="68"/>
                      <a:pt x="133" y="69"/>
                      <a:pt x="129" y="69"/>
                    </a:cubicBezTo>
                    <a:cubicBezTo>
                      <a:pt x="133" y="67"/>
                      <a:pt x="136" y="64"/>
                      <a:pt x="137" y="60"/>
                    </a:cubicBezTo>
                    <a:close/>
                    <a:moveTo>
                      <a:pt x="93" y="0"/>
                    </a:moveTo>
                    <a:cubicBezTo>
                      <a:pt x="42" y="0"/>
                      <a:pt x="0" y="41"/>
                      <a:pt x="0" y="92"/>
                    </a:cubicBezTo>
                    <a:cubicBezTo>
                      <a:pt x="0" y="144"/>
                      <a:pt x="42" y="185"/>
                      <a:pt x="93" y="185"/>
                    </a:cubicBezTo>
                    <a:cubicBezTo>
                      <a:pt x="144" y="185"/>
                      <a:pt x="186" y="144"/>
                      <a:pt x="186" y="92"/>
                    </a:cubicBezTo>
                    <a:cubicBezTo>
                      <a:pt x="186" y="41"/>
                      <a:pt x="144" y="0"/>
                      <a:pt x="93" y="0"/>
                    </a:cubicBezTo>
                    <a:close/>
                    <a:moveTo>
                      <a:pt x="93" y="177"/>
                    </a:moveTo>
                    <a:cubicBezTo>
                      <a:pt x="46" y="177"/>
                      <a:pt x="9" y="139"/>
                      <a:pt x="9" y="92"/>
                    </a:cubicBezTo>
                    <a:cubicBezTo>
                      <a:pt x="9" y="46"/>
                      <a:pt x="46" y="8"/>
                      <a:pt x="93" y="8"/>
                    </a:cubicBezTo>
                    <a:cubicBezTo>
                      <a:pt x="140" y="8"/>
                      <a:pt x="177" y="46"/>
                      <a:pt x="177" y="92"/>
                    </a:cubicBezTo>
                    <a:cubicBezTo>
                      <a:pt x="177" y="139"/>
                      <a:pt x="140" y="177"/>
                      <a:pt x="93" y="177"/>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grpSp>
          <p:nvGrpSpPr>
            <p:cNvPr id="4" name="Group 3">
              <a:extLst>
                <a:ext uri="{FF2B5EF4-FFF2-40B4-BE49-F238E27FC236}">
                  <a16:creationId xmlns:a16="http://schemas.microsoft.com/office/drawing/2014/main" id="{06949808-114A-4B6C-8603-0981BC0F4BAF}"/>
                </a:ext>
              </a:extLst>
            </p:cNvPr>
            <p:cNvGrpSpPr/>
            <p:nvPr userDrawn="1"/>
          </p:nvGrpSpPr>
          <p:grpSpPr>
            <a:xfrm>
              <a:off x="5906814" y="5636225"/>
              <a:ext cx="1378922" cy="279033"/>
              <a:chOff x="5906814" y="5636225"/>
              <a:chExt cx="1378922" cy="279033"/>
            </a:xfrm>
          </p:grpSpPr>
          <p:sp>
            <p:nvSpPr>
              <p:cNvPr id="18" name="Shape 3899">
                <a:extLst>
                  <a:ext uri="{FF2B5EF4-FFF2-40B4-BE49-F238E27FC236}">
                    <a16:creationId xmlns:a16="http://schemas.microsoft.com/office/drawing/2014/main" id="{DDA8D3FD-7361-4C36-9BE3-14D77711C3DD}"/>
                  </a:ext>
                </a:extLst>
              </p:cNvPr>
              <p:cNvSpPr/>
              <p:nvPr userDrawn="1"/>
            </p:nvSpPr>
            <p:spPr>
              <a:xfrm>
                <a:off x="5906814" y="5636225"/>
                <a:ext cx="279033" cy="27903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lumMod val="50000"/>
                  <a:lumOff val="50000"/>
                </a:schemeClr>
              </a:solidFill>
              <a:ln w="12700">
                <a:miter lim="400000"/>
              </a:ln>
            </p:spPr>
            <p:txBody>
              <a:bodyPr lIns="38100" tIns="38100" rIns="38100" bIns="38100" anchor="ctr"/>
              <a:lstStyle/>
              <a:p>
                <a:endParaRPr sz="1800" dirty="0">
                  <a:solidFill>
                    <a:prstClr val="black"/>
                  </a:solidFill>
                </a:endParaRPr>
              </a:p>
            </p:txBody>
          </p:sp>
          <p:sp>
            <p:nvSpPr>
              <p:cNvPr id="19" name="Rectangle 18">
                <a:extLst>
                  <a:ext uri="{FF2B5EF4-FFF2-40B4-BE49-F238E27FC236}">
                    <a16:creationId xmlns:a16="http://schemas.microsoft.com/office/drawing/2014/main" id="{E4201360-DF70-47EF-9FC8-CB1BC2C7368C}"/>
                  </a:ext>
                </a:extLst>
              </p:cNvPr>
              <p:cNvSpPr/>
              <p:nvPr userDrawn="1"/>
            </p:nvSpPr>
            <p:spPr>
              <a:xfrm>
                <a:off x="6192167" y="5660325"/>
                <a:ext cx="1093569" cy="230832"/>
              </a:xfrm>
              <a:prstGeom prst="rect">
                <a:avLst/>
              </a:prstGeom>
            </p:spPr>
            <p:txBody>
              <a:bodyPr wrap="none">
                <a:spAutoFit/>
              </a:bodyPr>
              <a:lstStyle/>
              <a:p>
                <a:r>
                  <a:rPr lang="en-US" sz="900" dirty="0"/>
                  <a:t>HealthDepartment</a:t>
                </a:r>
              </a:p>
            </p:txBody>
          </p:sp>
        </p:grpSp>
      </p:grpSp>
      <p:pic>
        <p:nvPicPr>
          <p:cNvPr id="22" name="Picture 21">
            <a:extLst>
              <a:ext uri="{FF2B5EF4-FFF2-40B4-BE49-F238E27FC236}">
                <a16:creationId xmlns:a16="http://schemas.microsoft.com/office/drawing/2014/main" id="{50B6A4DE-6432-4821-B7AC-353A82B2824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70117" y="1503517"/>
            <a:ext cx="4507948" cy="1335480"/>
          </a:xfrm>
          <a:prstGeom prst="rect">
            <a:avLst/>
          </a:prstGeom>
        </p:spPr>
      </p:pic>
    </p:spTree>
    <p:extLst>
      <p:ext uri="{BB962C8B-B14F-4D97-AF65-F5344CB8AC3E}">
        <p14:creationId xmlns:p14="http://schemas.microsoft.com/office/powerpoint/2010/main" val="356094964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1D0C0A5-1E81-4E0B-9125-10E4CA1FD255}"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88DFA5-36E5-4B64-8ECA-6ED739B152C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61796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D0C0A5-1E81-4E0B-9125-10E4CA1FD255}"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174564775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1D0C0A5-1E81-4E0B-9125-10E4CA1FD255}"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88DFA5-36E5-4B64-8ECA-6ED739B152C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57474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1D0C0A5-1E81-4E0B-9125-10E4CA1FD255}"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4000457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2"/>
        <p:cNvGrpSpPr/>
        <p:nvPr/>
      </p:nvGrpSpPr>
      <p:grpSpPr>
        <a:xfrm>
          <a:off x="0" y="0"/>
          <a:ext cx="0" cy="0"/>
          <a:chOff x="0" y="0"/>
          <a:chExt cx="0" cy="0"/>
        </a:xfrm>
      </p:grpSpPr>
      <p:grpSp>
        <p:nvGrpSpPr>
          <p:cNvPr id="173" name="Google Shape;173;p17"/>
          <p:cNvGrpSpPr/>
          <p:nvPr/>
        </p:nvGrpSpPr>
        <p:grpSpPr>
          <a:xfrm>
            <a:off x="0" y="0"/>
            <a:ext cx="12192000" cy="2148830"/>
            <a:chOff x="0" y="0"/>
            <a:chExt cx="12192000" cy="2148830"/>
          </a:xfrm>
        </p:grpSpPr>
        <p:sp>
          <p:nvSpPr>
            <p:cNvPr id="174" name="Google Shape;174;p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6" name="Google Shape;176;p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 name="Google Shape;177;p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 name="Google Shape;179;p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0" name="Google Shape;180;p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1D0C0A5-1E81-4E0B-9125-10E4CA1FD255}" type="datetimeFigureOut">
              <a:rPr lang="en-US" smtClean="0"/>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346576202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1D0C0A5-1E81-4E0B-9125-10E4CA1FD255}" type="datetimeFigureOut">
              <a:rPr lang="en-US" smtClean="0"/>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401385004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31D0C0A5-1E81-4E0B-9125-10E4CA1FD255}" type="datetimeFigureOut">
              <a:rPr lang="en-US" smtClean="0"/>
              <a:t>5/28/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265400434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1D0C0A5-1E81-4E0B-9125-10E4CA1FD255}" type="datetimeFigureOut">
              <a:rPr lang="en-US" smtClean="0"/>
              <a:t>5/28/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A388DFA5-36E5-4B64-8ECA-6ED739B152C8}" type="slidenum">
              <a:rPr lang="en-US" smtClean="0"/>
              <a:t>‹#›</a:t>
            </a:fld>
            <a:endParaRPr lang="en-US"/>
          </a:p>
        </p:txBody>
      </p:sp>
    </p:spTree>
    <p:extLst>
      <p:ext uri="{BB962C8B-B14F-4D97-AF65-F5344CB8AC3E}">
        <p14:creationId xmlns:p14="http://schemas.microsoft.com/office/powerpoint/2010/main" val="250020018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1D0C0A5-1E81-4E0B-9125-10E4CA1FD255}"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367623957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D0C0A5-1E81-4E0B-9125-10E4CA1FD255}"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380453715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1D0C0A5-1E81-4E0B-9125-10E4CA1FD255}"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88DFA5-36E5-4B64-8ECA-6ED739B152C8}" type="slidenum">
              <a:rPr lang="en-US" smtClean="0"/>
              <a:t>‹#›</a:t>
            </a:fld>
            <a:endParaRPr lang="en-US"/>
          </a:p>
        </p:txBody>
      </p:sp>
    </p:spTree>
    <p:extLst>
      <p:ext uri="{BB962C8B-B14F-4D97-AF65-F5344CB8AC3E}">
        <p14:creationId xmlns:p14="http://schemas.microsoft.com/office/powerpoint/2010/main" val="43647347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Vision">
    <p:spTree>
      <p:nvGrpSpPr>
        <p:cNvPr id="1" name=""/>
        <p:cNvGrpSpPr/>
        <p:nvPr/>
      </p:nvGrpSpPr>
      <p:grpSpPr>
        <a:xfrm>
          <a:off x="0" y="0"/>
          <a:ext cx="0" cy="0"/>
          <a:chOff x="0" y="0"/>
          <a:chExt cx="0" cy="0"/>
        </a:xfrm>
      </p:grpSpPr>
      <p:sp>
        <p:nvSpPr>
          <p:cNvPr id="17" name="Picture Placeholder 13"/>
          <p:cNvSpPr>
            <a:spLocks noGrp="1"/>
          </p:cNvSpPr>
          <p:nvPr>
            <p:ph type="pic" sz="quarter" idx="13"/>
          </p:nvPr>
        </p:nvSpPr>
        <p:spPr>
          <a:xfrm>
            <a:off x="6385502" y="3148115"/>
            <a:ext cx="4651529" cy="1900732"/>
          </a:xfrm>
          <a:effectLst/>
        </p:spPr>
        <p:txBody>
          <a:bodyPr>
            <a:normAutofit/>
          </a:bodyPr>
          <a:lstStyle>
            <a:lvl1pPr marL="0" indent="0">
              <a:buNone/>
              <a:defRPr sz="1577">
                <a:ln>
                  <a:noFill/>
                </a:ln>
                <a:solidFill>
                  <a:schemeClr val="bg1">
                    <a:lumMod val="85000"/>
                  </a:schemeClr>
                </a:solidFill>
              </a:defRPr>
            </a:lvl1pPr>
          </a:lstStyle>
          <a:p>
            <a:r>
              <a:rPr lang="en-US"/>
              <a:t>Drag picture to placeholder or click icon to add</a:t>
            </a:r>
          </a:p>
        </p:txBody>
      </p:sp>
      <p:pic>
        <p:nvPicPr>
          <p:cNvPr id="6" name="Picture 5" descr="A close up of a sign&#10;&#10;Description generated with high confidence">
            <a:extLst>
              <a:ext uri="{FF2B5EF4-FFF2-40B4-BE49-F238E27FC236}">
                <a16:creationId xmlns:a16="http://schemas.microsoft.com/office/drawing/2014/main" id="{88C3CB56-5CB9-4F4F-9FDB-5A8FFC7BDC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8824" y="6166355"/>
            <a:ext cx="1696413" cy="596395"/>
          </a:xfrm>
          <a:prstGeom prst="rect">
            <a:avLst/>
          </a:prstGeom>
        </p:spPr>
      </p:pic>
    </p:spTree>
    <p:extLst>
      <p:ext uri="{BB962C8B-B14F-4D97-AF65-F5344CB8AC3E}">
        <p14:creationId xmlns:p14="http://schemas.microsoft.com/office/powerpoint/2010/main" val="3046647722"/>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57250" y="1997274"/>
            <a:ext cx="9715500" cy="1378148"/>
          </a:xfrm>
        </p:spPr>
        <p:txBody>
          <a:bodyPr/>
          <a:lstStyle/>
          <a:p>
            <a:r>
              <a:rPr lang="en-US"/>
              <a:t>Click to edit Master title style</a:t>
            </a:r>
          </a:p>
        </p:txBody>
      </p:sp>
      <p:sp>
        <p:nvSpPr>
          <p:cNvPr id="3" name="Subtitle 2"/>
          <p:cNvSpPr>
            <a:spLocks noGrp="1"/>
          </p:cNvSpPr>
          <p:nvPr>
            <p:ph type="subTitle" idx="1"/>
          </p:nvPr>
        </p:nvSpPr>
        <p:spPr>
          <a:xfrm>
            <a:off x="1714500" y="3643312"/>
            <a:ext cx="8001000" cy="1643063"/>
          </a:xfrm>
        </p:spPr>
        <p:txBody>
          <a:bodyPr/>
          <a:lstStyle>
            <a:lvl1pPr marL="0" indent="0" algn="ctr">
              <a:buNone/>
              <a:defRPr>
                <a:solidFill>
                  <a:schemeClr val="tx1">
                    <a:tint val="75000"/>
                  </a:schemeClr>
                </a:solidFill>
              </a:defRPr>
            </a:lvl1pPr>
            <a:lvl2pPr marL="428625" indent="0" algn="ctr">
              <a:buNone/>
              <a:defRPr>
                <a:solidFill>
                  <a:schemeClr val="tx1">
                    <a:tint val="75000"/>
                  </a:schemeClr>
                </a:solidFill>
              </a:defRPr>
            </a:lvl2pPr>
            <a:lvl3pPr marL="857250" indent="0" algn="ctr">
              <a:buNone/>
              <a:defRPr>
                <a:solidFill>
                  <a:schemeClr val="tx1">
                    <a:tint val="75000"/>
                  </a:schemeClr>
                </a:solidFill>
              </a:defRPr>
            </a:lvl3pPr>
            <a:lvl4pPr marL="1285875" indent="0" algn="ctr">
              <a:buNone/>
              <a:defRPr>
                <a:solidFill>
                  <a:schemeClr val="tx1">
                    <a:tint val="75000"/>
                  </a:schemeClr>
                </a:solidFill>
              </a:defRPr>
            </a:lvl4pPr>
            <a:lvl5pPr marL="1714500" indent="0" algn="ctr">
              <a:buNone/>
              <a:defRPr>
                <a:solidFill>
                  <a:schemeClr val="tx1">
                    <a:tint val="75000"/>
                  </a:schemeClr>
                </a:solidFill>
              </a:defRPr>
            </a:lvl5pPr>
            <a:lvl6pPr marL="2143125" indent="0" algn="ctr">
              <a:buNone/>
              <a:defRPr>
                <a:solidFill>
                  <a:schemeClr val="tx1">
                    <a:tint val="75000"/>
                  </a:schemeClr>
                </a:solidFill>
              </a:defRPr>
            </a:lvl6pPr>
            <a:lvl7pPr marL="2571750" indent="0" algn="ctr">
              <a:buNone/>
              <a:defRPr>
                <a:solidFill>
                  <a:schemeClr val="tx1">
                    <a:tint val="75000"/>
                  </a:schemeClr>
                </a:solidFill>
              </a:defRPr>
            </a:lvl7pPr>
            <a:lvl8pPr marL="3000375" indent="0" algn="ctr">
              <a:buNone/>
              <a:defRPr>
                <a:solidFill>
                  <a:schemeClr val="tx1">
                    <a:tint val="75000"/>
                  </a:schemeClr>
                </a:solidFill>
              </a:defRPr>
            </a:lvl8pPr>
            <a:lvl9pPr marL="34290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8439310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499941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
        <p:cNvGrpSpPr/>
        <p:nvPr/>
      </p:nvGrpSpPr>
      <p:grpSpPr>
        <a:xfrm>
          <a:off x="0" y="0"/>
          <a:ext cx="0" cy="0"/>
          <a:chOff x="0" y="0"/>
          <a:chExt cx="0" cy="0"/>
        </a:xfrm>
      </p:grpSpPr>
      <p:sp>
        <p:nvSpPr>
          <p:cNvPr id="191" name="Google Shape;191;p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 name="Google Shape;194;p19"/>
          <p:cNvSpPr>
            <a:spLocks noGrp="1"/>
          </p:cNvSpPr>
          <p:nvPr>
            <p:ph type="pic" idx="2"/>
          </p:nvPr>
        </p:nvSpPr>
        <p:spPr>
          <a:xfrm>
            <a:off x="7118684" y="233915"/>
            <a:ext cx="5073316" cy="5943600"/>
          </a:xfrm>
          <a:prstGeom prst="rect">
            <a:avLst/>
          </a:prstGeom>
          <a:noFill/>
          <a:ln>
            <a:noFill/>
          </a:ln>
        </p:spPr>
      </p:sp>
      <p:grpSp>
        <p:nvGrpSpPr>
          <p:cNvPr id="195" name="Google Shape;195;p19"/>
          <p:cNvGrpSpPr/>
          <p:nvPr/>
        </p:nvGrpSpPr>
        <p:grpSpPr>
          <a:xfrm>
            <a:off x="0" y="5020348"/>
            <a:ext cx="12192000" cy="1837653"/>
            <a:chOff x="0" y="5020348"/>
            <a:chExt cx="12192000" cy="1837653"/>
          </a:xfrm>
        </p:grpSpPr>
        <p:sp>
          <p:nvSpPr>
            <p:cNvPr id="196" name="Google Shape;196;p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 name="Google Shape;197;p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 name="Google Shape;198;p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02891" y="4131469"/>
            <a:ext cx="9715500" cy="127694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02891" y="2725044"/>
            <a:ext cx="9715500" cy="1406425"/>
          </a:xfrm>
        </p:spPr>
        <p:txBody>
          <a:bodyPr anchor="b"/>
          <a:lstStyle>
            <a:lvl1pPr marL="0" indent="0">
              <a:buNone/>
              <a:defRPr sz="1875">
                <a:solidFill>
                  <a:schemeClr val="tx1">
                    <a:tint val="75000"/>
                  </a:schemeClr>
                </a:solidFill>
              </a:defRPr>
            </a:lvl1pPr>
            <a:lvl2pPr marL="428625" indent="0">
              <a:buNone/>
              <a:defRPr sz="1688">
                <a:solidFill>
                  <a:schemeClr val="tx1">
                    <a:tint val="75000"/>
                  </a:schemeClr>
                </a:solidFill>
              </a:defRPr>
            </a:lvl2pPr>
            <a:lvl3pPr marL="857250" indent="0">
              <a:buNone/>
              <a:defRPr sz="1500">
                <a:solidFill>
                  <a:schemeClr val="tx1">
                    <a:tint val="75000"/>
                  </a:schemeClr>
                </a:solidFill>
              </a:defRPr>
            </a:lvl3pPr>
            <a:lvl4pPr marL="1285875" indent="0">
              <a:buNone/>
              <a:defRPr sz="1313">
                <a:solidFill>
                  <a:schemeClr val="tx1">
                    <a:tint val="75000"/>
                  </a:schemeClr>
                </a:solidFill>
              </a:defRPr>
            </a:lvl4pPr>
            <a:lvl5pPr marL="1714500" indent="0">
              <a:buNone/>
              <a:defRPr sz="1313">
                <a:solidFill>
                  <a:schemeClr val="tx1">
                    <a:tint val="75000"/>
                  </a:schemeClr>
                </a:solidFill>
              </a:defRPr>
            </a:lvl5pPr>
            <a:lvl6pPr marL="2143125" indent="0">
              <a:buNone/>
              <a:defRPr sz="1313">
                <a:solidFill>
                  <a:schemeClr val="tx1">
                    <a:tint val="75000"/>
                  </a:schemeClr>
                </a:solidFill>
              </a:defRPr>
            </a:lvl6pPr>
            <a:lvl7pPr marL="2571750" indent="0">
              <a:buNone/>
              <a:defRPr sz="1313">
                <a:solidFill>
                  <a:schemeClr val="tx1">
                    <a:tint val="75000"/>
                  </a:schemeClr>
                </a:solidFill>
              </a:defRPr>
            </a:lvl7pPr>
            <a:lvl8pPr marL="3000375" indent="0">
              <a:buNone/>
              <a:defRPr sz="1313">
                <a:solidFill>
                  <a:schemeClr val="tx1">
                    <a:tint val="75000"/>
                  </a:schemeClr>
                </a:solidFill>
              </a:defRPr>
            </a:lvl8pPr>
            <a:lvl9pPr marL="3429000" indent="0">
              <a:buNone/>
              <a:defRPr sz="131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1384087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1500" y="1500188"/>
            <a:ext cx="5048250" cy="4243090"/>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10250" y="1500188"/>
            <a:ext cx="5048250" cy="4243090"/>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5180615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71500" y="1439168"/>
            <a:ext cx="5050235" cy="599777"/>
          </a:xfrm>
        </p:spPr>
        <p:txBody>
          <a:bodyPr anchor="b"/>
          <a:lstStyle>
            <a:lvl1pPr marL="0" indent="0">
              <a:buNone/>
              <a:defRPr sz="2250" b="1"/>
            </a:lvl1pPr>
            <a:lvl2pPr marL="428625" indent="0">
              <a:buNone/>
              <a:defRPr sz="1875" b="1"/>
            </a:lvl2pPr>
            <a:lvl3pPr marL="857250" indent="0">
              <a:buNone/>
              <a:defRPr sz="1688" b="1"/>
            </a:lvl3pPr>
            <a:lvl4pPr marL="1285875" indent="0">
              <a:buNone/>
              <a:defRPr sz="1500" b="1"/>
            </a:lvl4pPr>
            <a:lvl5pPr marL="1714500" indent="0">
              <a:buNone/>
              <a:defRPr sz="1500" b="1"/>
            </a:lvl5pPr>
            <a:lvl6pPr marL="2143125" indent="0">
              <a:buNone/>
              <a:defRPr sz="1500" b="1"/>
            </a:lvl6pPr>
            <a:lvl7pPr marL="2571750" indent="0">
              <a:buNone/>
              <a:defRPr sz="1500" b="1"/>
            </a:lvl7pPr>
            <a:lvl8pPr marL="3000375" indent="0">
              <a:buNone/>
              <a:defRPr sz="1500" b="1"/>
            </a:lvl8pPr>
            <a:lvl9pPr marL="3429000" indent="0">
              <a:buNone/>
              <a:defRPr sz="1500" b="1"/>
            </a:lvl9pPr>
          </a:lstStyle>
          <a:p>
            <a:pPr lvl="0"/>
            <a:r>
              <a:rPr lang="en-US"/>
              <a:t>Click to edit Master text styles</a:t>
            </a:r>
          </a:p>
        </p:txBody>
      </p:sp>
      <p:sp>
        <p:nvSpPr>
          <p:cNvPr id="4" name="Content Placeholder 3"/>
          <p:cNvSpPr>
            <a:spLocks noGrp="1"/>
          </p:cNvSpPr>
          <p:nvPr>
            <p:ph sz="half" idx="2"/>
          </p:nvPr>
        </p:nvSpPr>
        <p:spPr>
          <a:xfrm>
            <a:off x="571500" y="2038945"/>
            <a:ext cx="5050235" cy="3704333"/>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06282" y="1439168"/>
            <a:ext cx="5052219" cy="599777"/>
          </a:xfrm>
        </p:spPr>
        <p:txBody>
          <a:bodyPr anchor="b"/>
          <a:lstStyle>
            <a:lvl1pPr marL="0" indent="0">
              <a:buNone/>
              <a:defRPr sz="2250" b="1"/>
            </a:lvl1pPr>
            <a:lvl2pPr marL="428625" indent="0">
              <a:buNone/>
              <a:defRPr sz="1875" b="1"/>
            </a:lvl2pPr>
            <a:lvl3pPr marL="857250" indent="0">
              <a:buNone/>
              <a:defRPr sz="1688" b="1"/>
            </a:lvl3pPr>
            <a:lvl4pPr marL="1285875" indent="0">
              <a:buNone/>
              <a:defRPr sz="1500" b="1"/>
            </a:lvl4pPr>
            <a:lvl5pPr marL="1714500" indent="0">
              <a:buNone/>
              <a:defRPr sz="1500" b="1"/>
            </a:lvl5pPr>
            <a:lvl6pPr marL="2143125" indent="0">
              <a:buNone/>
              <a:defRPr sz="1500" b="1"/>
            </a:lvl6pPr>
            <a:lvl7pPr marL="2571750" indent="0">
              <a:buNone/>
              <a:defRPr sz="1500" b="1"/>
            </a:lvl7pPr>
            <a:lvl8pPr marL="3000375" indent="0">
              <a:buNone/>
              <a:defRPr sz="1500" b="1"/>
            </a:lvl8pPr>
            <a:lvl9pPr marL="3429000" indent="0">
              <a:buNone/>
              <a:defRPr sz="1500" b="1"/>
            </a:lvl9pPr>
          </a:lstStyle>
          <a:p>
            <a:pPr lvl="0"/>
            <a:r>
              <a:rPr lang="en-US"/>
              <a:t>Click to edit Master text styles</a:t>
            </a:r>
          </a:p>
        </p:txBody>
      </p:sp>
      <p:sp>
        <p:nvSpPr>
          <p:cNvPr id="6" name="Content Placeholder 5"/>
          <p:cNvSpPr>
            <a:spLocks noGrp="1"/>
          </p:cNvSpPr>
          <p:nvPr>
            <p:ph sz="quarter" idx="4"/>
          </p:nvPr>
        </p:nvSpPr>
        <p:spPr>
          <a:xfrm>
            <a:off x="5806282" y="2038945"/>
            <a:ext cx="5052219" cy="3704333"/>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6641809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538830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1814408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1501" y="255984"/>
            <a:ext cx="3760391" cy="1089422"/>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468812" y="255985"/>
            <a:ext cx="6389688" cy="548729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1501" y="1345406"/>
            <a:ext cx="3760391" cy="4397872"/>
          </a:xfrm>
        </p:spPr>
        <p:txBody>
          <a:bodyPr/>
          <a:lstStyle>
            <a:lvl1pPr marL="0" indent="0">
              <a:buNone/>
              <a:defRPr sz="1313"/>
            </a:lvl1pPr>
            <a:lvl2pPr marL="428625" indent="0">
              <a:buNone/>
              <a:defRPr sz="1125"/>
            </a:lvl2pPr>
            <a:lvl3pPr marL="857250" indent="0">
              <a:buNone/>
              <a:defRPr sz="938"/>
            </a:lvl3pPr>
            <a:lvl4pPr marL="1285875" indent="0">
              <a:buNone/>
              <a:defRPr sz="844"/>
            </a:lvl4pPr>
            <a:lvl5pPr marL="1714500" indent="0">
              <a:buNone/>
              <a:defRPr sz="844"/>
            </a:lvl5pPr>
            <a:lvl6pPr marL="2143125" indent="0">
              <a:buNone/>
              <a:defRPr sz="844"/>
            </a:lvl6pPr>
            <a:lvl7pPr marL="2571750" indent="0">
              <a:buNone/>
              <a:defRPr sz="844"/>
            </a:lvl7pPr>
            <a:lvl8pPr marL="3000375" indent="0">
              <a:buNone/>
              <a:defRPr sz="844"/>
            </a:lvl8pPr>
            <a:lvl9pPr marL="3429000" indent="0">
              <a:buNone/>
              <a:defRPr sz="84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5122713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40360" y="4500562"/>
            <a:ext cx="6858000" cy="531317"/>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240360" y="574477"/>
            <a:ext cx="6858000" cy="3857625"/>
          </a:xfrm>
        </p:spPr>
        <p:txBody>
          <a:bodyPr/>
          <a:lstStyle>
            <a:lvl1pPr marL="0" indent="0">
              <a:buNone/>
              <a:defRPr sz="3000"/>
            </a:lvl1pPr>
            <a:lvl2pPr marL="428625" indent="0">
              <a:buNone/>
              <a:defRPr sz="2625"/>
            </a:lvl2pPr>
            <a:lvl3pPr marL="857250" indent="0">
              <a:buNone/>
              <a:defRPr sz="2250"/>
            </a:lvl3pPr>
            <a:lvl4pPr marL="1285875" indent="0">
              <a:buNone/>
              <a:defRPr sz="1875"/>
            </a:lvl4pPr>
            <a:lvl5pPr marL="1714500" indent="0">
              <a:buNone/>
              <a:defRPr sz="1875"/>
            </a:lvl5pPr>
            <a:lvl6pPr marL="2143125" indent="0">
              <a:buNone/>
              <a:defRPr sz="1875"/>
            </a:lvl6pPr>
            <a:lvl7pPr marL="2571750" indent="0">
              <a:buNone/>
              <a:defRPr sz="1875"/>
            </a:lvl7pPr>
            <a:lvl8pPr marL="3000375" indent="0">
              <a:buNone/>
              <a:defRPr sz="1875"/>
            </a:lvl8pPr>
            <a:lvl9pPr marL="3429000" indent="0">
              <a:buNone/>
              <a:defRPr sz="1875"/>
            </a:lvl9pPr>
          </a:lstStyle>
          <a:p>
            <a:endParaRPr lang="en-US"/>
          </a:p>
        </p:txBody>
      </p:sp>
      <p:sp>
        <p:nvSpPr>
          <p:cNvPr id="4" name="Text Placeholder 3"/>
          <p:cNvSpPr>
            <a:spLocks noGrp="1"/>
          </p:cNvSpPr>
          <p:nvPr>
            <p:ph type="body" sz="half" idx="2"/>
          </p:nvPr>
        </p:nvSpPr>
        <p:spPr>
          <a:xfrm>
            <a:off x="2240360" y="5031879"/>
            <a:ext cx="6858000" cy="754558"/>
          </a:xfrm>
        </p:spPr>
        <p:txBody>
          <a:bodyPr/>
          <a:lstStyle>
            <a:lvl1pPr marL="0" indent="0">
              <a:buNone/>
              <a:defRPr sz="1313"/>
            </a:lvl1pPr>
            <a:lvl2pPr marL="428625" indent="0">
              <a:buNone/>
              <a:defRPr sz="1125"/>
            </a:lvl2pPr>
            <a:lvl3pPr marL="857250" indent="0">
              <a:buNone/>
              <a:defRPr sz="938"/>
            </a:lvl3pPr>
            <a:lvl4pPr marL="1285875" indent="0">
              <a:buNone/>
              <a:defRPr sz="844"/>
            </a:lvl4pPr>
            <a:lvl5pPr marL="1714500" indent="0">
              <a:buNone/>
              <a:defRPr sz="844"/>
            </a:lvl5pPr>
            <a:lvl6pPr marL="2143125" indent="0">
              <a:buNone/>
              <a:defRPr sz="844"/>
            </a:lvl6pPr>
            <a:lvl7pPr marL="2571750" indent="0">
              <a:buNone/>
              <a:defRPr sz="844"/>
            </a:lvl7pPr>
            <a:lvl8pPr marL="3000375" indent="0">
              <a:buNone/>
              <a:defRPr sz="844"/>
            </a:lvl8pPr>
            <a:lvl9pPr marL="3429000" indent="0">
              <a:buNone/>
              <a:defRPr sz="84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571451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1650579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286750" y="257473"/>
            <a:ext cx="2571750" cy="548580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257473"/>
            <a:ext cx="7524750" cy="54858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8608544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2921896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9"/>
        <p:cNvGrpSpPr/>
        <p:nvPr/>
      </p:nvGrpSpPr>
      <p:grpSpPr>
        <a:xfrm>
          <a:off x="0" y="0"/>
          <a:ext cx="0" cy="0"/>
          <a:chOff x="0" y="0"/>
          <a:chExt cx="0" cy="0"/>
        </a:xfrm>
      </p:grpSpPr>
      <p:grpSp>
        <p:nvGrpSpPr>
          <p:cNvPr id="200" name="Google Shape;200;p20"/>
          <p:cNvGrpSpPr/>
          <p:nvPr/>
        </p:nvGrpSpPr>
        <p:grpSpPr>
          <a:xfrm>
            <a:off x="0" y="5020347"/>
            <a:ext cx="12192000" cy="1837653"/>
            <a:chOff x="0" y="5020347"/>
            <a:chExt cx="12192000" cy="1837653"/>
          </a:xfrm>
        </p:grpSpPr>
        <p:sp>
          <p:nvSpPr>
            <p:cNvPr id="201" name="Google Shape;201;p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 name="Google Shape;202;p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 name="Google Shape;203;p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4" name="Google Shape;204;p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5" name="Google Shape;205;p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 name="Google Shape;206;p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077634"/>
          </a:xfrm>
        </p:spPr>
        <p:txBody>
          <a:bodyPr/>
          <a:lstStyle>
            <a:lvl1pPr>
              <a:lnSpc>
                <a:spcPct val="100000"/>
              </a:lnSpc>
              <a:spcAft>
                <a:spcPts val="600"/>
              </a:spcAft>
              <a:defRPr/>
            </a:lvl1pPr>
            <a:lvl2pPr>
              <a:lnSpc>
                <a:spcPct val="100000"/>
              </a:lnSpc>
              <a:spcAft>
                <a:spcPts val="600"/>
              </a:spcAft>
              <a:defRPr sz="1800"/>
            </a:lvl2pPr>
            <a:lvl3pPr>
              <a:lnSpc>
                <a:spcPct val="100000"/>
              </a:lnSpc>
              <a:spcAft>
                <a:spcPts val="600"/>
              </a:spcAft>
              <a:defRPr sz="1800"/>
            </a:lvl3pPr>
            <a:lvl4pPr>
              <a:lnSpc>
                <a:spcPct val="100000"/>
              </a:lnSpc>
              <a:spcAft>
                <a:spcPts val="600"/>
              </a:spcAft>
              <a:defRPr sz="1800"/>
            </a:lvl4pPr>
            <a:lvl5pPr>
              <a:lnSpc>
                <a:spcPct val="100000"/>
              </a:lnSpc>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4" name="Title 3">
            <a:extLst>
              <a:ext uri="{FF2B5EF4-FFF2-40B4-BE49-F238E27FC236}">
                <a16:creationId xmlns:a16="http://schemas.microsoft.com/office/drawing/2014/main" id="{ED5B5F89-B464-49A5-A01C-BBE726DBCCE8}"/>
              </a:ext>
            </a:extLst>
          </p:cNvPr>
          <p:cNvSpPr>
            <a:spLocks noGrp="1"/>
          </p:cNvSpPr>
          <p:nvPr>
            <p:ph type="title"/>
          </p:nvPr>
        </p:nvSpPr>
        <p:spPr/>
        <p:txBody>
          <a:bodyPr/>
          <a:lstStyle/>
          <a:p>
            <a:r>
              <a:rPr lang="en-US"/>
              <a:t>Click to edit Master title style</a:t>
            </a:r>
          </a:p>
        </p:txBody>
      </p:sp>
      <p:sp>
        <p:nvSpPr>
          <p:cNvPr id="5" name="Subtitle 2">
            <a:extLst>
              <a:ext uri="{FF2B5EF4-FFF2-40B4-BE49-F238E27FC236}">
                <a16:creationId xmlns:a16="http://schemas.microsoft.com/office/drawing/2014/main" id="{38345326-6BD8-42E0-AB8D-F4C594C968BC}"/>
              </a:ext>
            </a:extLst>
          </p:cNvPr>
          <p:cNvSpPr>
            <a:spLocks noGrp="1"/>
          </p:cNvSpPr>
          <p:nvPr>
            <p:ph type="subTitle" idx="10"/>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227410364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Step List">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cxnSp>
        <p:nvCxnSpPr>
          <p:cNvPr id="8" name="Straight Connector 7">
            <a:extLst>
              <a:ext uri="{FF2B5EF4-FFF2-40B4-BE49-F238E27FC236}">
                <a16:creationId xmlns:a16="http://schemas.microsoft.com/office/drawing/2014/main" id="{B8574440-0100-4A45-A785-751A481F4494}"/>
              </a:ext>
            </a:extLst>
          </p:cNvPr>
          <p:cNvCxnSpPr/>
          <p:nvPr userDrawn="1"/>
        </p:nvCxnSpPr>
        <p:spPr>
          <a:xfrm>
            <a:off x="5879976" y="2044495"/>
            <a:ext cx="0" cy="330171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5D657C73-6A78-4E1D-885B-0BEAB1CBBC23}"/>
              </a:ext>
            </a:extLst>
          </p:cNvPr>
          <p:cNvSpPr/>
          <p:nvPr userDrawn="1"/>
        </p:nvSpPr>
        <p:spPr>
          <a:xfrm>
            <a:off x="6420037" y="2095221"/>
            <a:ext cx="900100" cy="67507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1</a:t>
            </a:r>
          </a:p>
        </p:txBody>
      </p:sp>
      <p:sp>
        <p:nvSpPr>
          <p:cNvPr id="11" name="Oval 10">
            <a:extLst>
              <a:ext uri="{FF2B5EF4-FFF2-40B4-BE49-F238E27FC236}">
                <a16:creationId xmlns:a16="http://schemas.microsoft.com/office/drawing/2014/main" id="{5C36C3A8-8C0D-4086-8D48-241843212CB8}"/>
              </a:ext>
            </a:extLst>
          </p:cNvPr>
          <p:cNvSpPr/>
          <p:nvPr userDrawn="1"/>
        </p:nvSpPr>
        <p:spPr>
          <a:xfrm>
            <a:off x="6420037" y="2916489"/>
            <a:ext cx="900100" cy="67507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2</a:t>
            </a:r>
          </a:p>
        </p:txBody>
      </p:sp>
      <p:sp>
        <p:nvSpPr>
          <p:cNvPr id="12" name="Oval 11">
            <a:extLst>
              <a:ext uri="{FF2B5EF4-FFF2-40B4-BE49-F238E27FC236}">
                <a16:creationId xmlns:a16="http://schemas.microsoft.com/office/drawing/2014/main" id="{D1F8C113-7B7B-49EF-AC42-5B87F6C63CAB}"/>
              </a:ext>
            </a:extLst>
          </p:cNvPr>
          <p:cNvSpPr/>
          <p:nvPr userDrawn="1"/>
        </p:nvSpPr>
        <p:spPr>
          <a:xfrm>
            <a:off x="6420037" y="3737758"/>
            <a:ext cx="900100" cy="675075"/>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3</a:t>
            </a:r>
          </a:p>
        </p:txBody>
      </p:sp>
      <p:sp>
        <p:nvSpPr>
          <p:cNvPr id="13" name="Oval 12">
            <a:extLst>
              <a:ext uri="{FF2B5EF4-FFF2-40B4-BE49-F238E27FC236}">
                <a16:creationId xmlns:a16="http://schemas.microsoft.com/office/drawing/2014/main" id="{E4D2DB56-222C-4ACA-8856-3B9BB0D069D5}"/>
              </a:ext>
            </a:extLst>
          </p:cNvPr>
          <p:cNvSpPr/>
          <p:nvPr userDrawn="1"/>
        </p:nvSpPr>
        <p:spPr>
          <a:xfrm>
            <a:off x="6420037" y="4559026"/>
            <a:ext cx="900100" cy="67507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rgbClr val="FFFFFF"/>
                </a:solidFill>
                <a:latin typeface="+mj-lt"/>
              </a:rPr>
              <a:t>04</a:t>
            </a:r>
            <a:endParaRPr lang="en-US" sz="1350" b="1" dirty="0">
              <a:solidFill>
                <a:srgbClr val="FFFFFF"/>
              </a:solidFill>
              <a:latin typeface="+mj-lt"/>
            </a:endParaRPr>
          </a:p>
        </p:txBody>
      </p:sp>
      <p:sp>
        <p:nvSpPr>
          <p:cNvPr id="18" name="Text Placeholder 17">
            <a:extLst>
              <a:ext uri="{FF2B5EF4-FFF2-40B4-BE49-F238E27FC236}">
                <a16:creationId xmlns:a16="http://schemas.microsoft.com/office/drawing/2014/main" id="{BC56CF82-C8C4-475B-8AE1-EF1A143EFBF9}"/>
              </a:ext>
            </a:extLst>
          </p:cNvPr>
          <p:cNvSpPr>
            <a:spLocks noGrp="1"/>
          </p:cNvSpPr>
          <p:nvPr>
            <p:ph type="body" sz="quarter" idx="12"/>
          </p:nvPr>
        </p:nvSpPr>
        <p:spPr>
          <a:xfrm>
            <a:off x="838201" y="2707136"/>
            <a:ext cx="4773084" cy="1976437"/>
          </a:xfrm>
        </p:spPr>
        <p:txBody>
          <a:bodyPr>
            <a:normAutofit/>
          </a:bodyPr>
          <a:lstStyle>
            <a:lvl1pPr marL="0" indent="0" algn="r">
              <a:buNone/>
              <a:defRPr sz="1800"/>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20" name="Text Placeholder 19">
            <a:extLst>
              <a:ext uri="{FF2B5EF4-FFF2-40B4-BE49-F238E27FC236}">
                <a16:creationId xmlns:a16="http://schemas.microsoft.com/office/drawing/2014/main" id="{C0057627-994D-4EE7-8282-DAE0771614AF}"/>
              </a:ext>
            </a:extLst>
          </p:cNvPr>
          <p:cNvSpPr>
            <a:spLocks noGrp="1"/>
          </p:cNvSpPr>
          <p:nvPr>
            <p:ph type="body" sz="quarter" idx="13"/>
          </p:nvPr>
        </p:nvSpPr>
        <p:spPr>
          <a:xfrm>
            <a:off x="7605184" y="2095500"/>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2" name="Text Placeholder 19">
            <a:extLst>
              <a:ext uri="{FF2B5EF4-FFF2-40B4-BE49-F238E27FC236}">
                <a16:creationId xmlns:a16="http://schemas.microsoft.com/office/drawing/2014/main" id="{AF30594A-729D-46A1-8A4B-CE7C35092B81}"/>
              </a:ext>
            </a:extLst>
          </p:cNvPr>
          <p:cNvSpPr>
            <a:spLocks noGrp="1"/>
          </p:cNvSpPr>
          <p:nvPr>
            <p:ph type="body" sz="quarter" idx="14"/>
          </p:nvPr>
        </p:nvSpPr>
        <p:spPr>
          <a:xfrm>
            <a:off x="7605184" y="2916488"/>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3" name="Text Placeholder 19">
            <a:extLst>
              <a:ext uri="{FF2B5EF4-FFF2-40B4-BE49-F238E27FC236}">
                <a16:creationId xmlns:a16="http://schemas.microsoft.com/office/drawing/2014/main" id="{13DE5E2E-1F60-468A-8792-B5E278697F52}"/>
              </a:ext>
            </a:extLst>
          </p:cNvPr>
          <p:cNvSpPr>
            <a:spLocks noGrp="1"/>
          </p:cNvSpPr>
          <p:nvPr>
            <p:ph type="body" sz="quarter" idx="15"/>
          </p:nvPr>
        </p:nvSpPr>
        <p:spPr>
          <a:xfrm>
            <a:off x="7605184" y="3737476"/>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4" name="Text Placeholder 19">
            <a:extLst>
              <a:ext uri="{FF2B5EF4-FFF2-40B4-BE49-F238E27FC236}">
                <a16:creationId xmlns:a16="http://schemas.microsoft.com/office/drawing/2014/main" id="{59A9616B-C1F5-4B9A-B522-76E6002640E1}"/>
              </a:ext>
            </a:extLst>
          </p:cNvPr>
          <p:cNvSpPr>
            <a:spLocks noGrp="1"/>
          </p:cNvSpPr>
          <p:nvPr>
            <p:ph type="body" sz="quarter" idx="16"/>
          </p:nvPr>
        </p:nvSpPr>
        <p:spPr>
          <a:xfrm>
            <a:off x="7605184" y="4558464"/>
            <a:ext cx="3748616" cy="674688"/>
          </a:xfrm>
        </p:spPr>
        <p:txBody>
          <a:bodyPr>
            <a:noAutofit/>
          </a:bodyPr>
          <a:lstStyle>
            <a:lvl1pPr marL="0" indent="0">
              <a:buNone/>
              <a:defRPr sz="1600"/>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 styles</a:t>
            </a:r>
          </a:p>
        </p:txBody>
      </p:sp>
      <p:sp>
        <p:nvSpPr>
          <p:cNvPr id="25" name="Subtitle 2">
            <a:extLst>
              <a:ext uri="{FF2B5EF4-FFF2-40B4-BE49-F238E27FC236}">
                <a16:creationId xmlns:a16="http://schemas.microsoft.com/office/drawing/2014/main" id="{12B7250E-0883-43A1-A858-8D09C91CD746}"/>
              </a:ext>
            </a:extLst>
          </p:cNvPr>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Tree>
    <p:extLst>
      <p:ext uri="{BB962C8B-B14F-4D97-AF65-F5344CB8AC3E}">
        <p14:creationId xmlns:p14="http://schemas.microsoft.com/office/powerpoint/2010/main" val="51608601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ide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Rectangle 3">
            <a:extLst>
              <a:ext uri="{FF2B5EF4-FFF2-40B4-BE49-F238E27FC236}">
                <a16:creationId xmlns:a16="http://schemas.microsoft.com/office/drawing/2014/main" id="{9CB29A8C-EC63-48FF-B93D-47A810CE4076}"/>
              </a:ext>
            </a:extLst>
          </p:cNvPr>
          <p:cNvSpPr/>
          <p:nvPr userDrawn="1"/>
        </p:nvSpPr>
        <p:spPr>
          <a:xfrm>
            <a:off x="7990123" y="2206625"/>
            <a:ext cx="4201877" cy="28337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Picture Placeholder 7">
            <a:extLst>
              <a:ext uri="{FF2B5EF4-FFF2-40B4-BE49-F238E27FC236}">
                <a16:creationId xmlns:a16="http://schemas.microsoft.com/office/drawing/2014/main" id="{95D8BF37-8E57-4042-9F9C-A2ADA52C99E6}"/>
              </a:ext>
            </a:extLst>
          </p:cNvPr>
          <p:cNvSpPr>
            <a:spLocks noGrp="1"/>
          </p:cNvSpPr>
          <p:nvPr>
            <p:ph type="pic" sz="quarter" idx="10"/>
          </p:nvPr>
        </p:nvSpPr>
        <p:spPr>
          <a:xfrm>
            <a:off x="1" y="2206625"/>
            <a:ext cx="7990417" cy="2833688"/>
          </a:xfrm>
          <a:solidFill>
            <a:schemeClr val="bg1">
              <a:lumMod val="50000"/>
            </a:schemeClr>
          </a:solidFill>
        </p:spPr>
        <p:txBody>
          <a:bodyPr/>
          <a:lstStyle>
            <a:lvl1pPr marL="0" indent="0">
              <a:buNone/>
              <a:defRPr/>
            </a:lvl1pPr>
          </a:lstStyle>
          <a:p>
            <a:endParaRPr lang="en-US" dirty="0"/>
          </a:p>
        </p:txBody>
      </p:sp>
      <p:sp>
        <p:nvSpPr>
          <p:cNvPr id="11" name="Text Placeholder 10">
            <a:extLst>
              <a:ext uri="{FF2B5EF4-FFF2-40B4-BE49-F238E27FC236}">
                <a16:creationId xmlns:a16="http://schemas.microsoft.com/office/drawing/2014/main" id="{9AC545A1-8DD1-4655-984C-778993439B2F}"/>
              </a:ext>
            </a:extLst>
          </p:cNvPr>
          <p:cNvSpPr>
            <a:spLocks noGrp="1"/>
          </p:cNvSpPr>
          <p:nvPr>
            <p:ph type="body" sz="quarter" idx="11"/>
          </p:nvPr>
        </p:nvSpPr>
        <p:spPr>
          <a:xfrm>
            <a:off x="8398934" y="2935288"/>
            <a:ext cx="3384551" cy="1800225"/>
          </a:xfrm>
        </p:spPr>
        <p:txBody>
          <a:bodyPr>
            <a:normAutofit/>
          </a:bodyPr>
          <a:lstStyle>
            <a:lvl1pPr marL="0" indent="0">
              <a:buNone/>
              <a:defRPr sz="160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a:t>Edit Master text styles</a:t>
            </a:r>
          </a:p>
        </p:txBody>
      </p:sp>
      <p:sp>
        <p:nvSpPr>
          <p:cNvPr id="13" name="Text Placeholder 12">
            <a:extLst>
              <a:ext uri="{FF2B5EF4-FFF2-40B4-BE49-F238E27FC236}">
                <a16:creationId xmlns:a16="http://schemas.microsoft.com/office/drawing/2014/main" id="{DD186EB5-68C1-4B3E-AB20-83A834D5CA83}"/>
              </a:ext>
            </a:extLst>
          </p:cNvPr>
          <p:cNvSpPr>
            <a:spLocks noGrp="1"/>
          </p:cNvSpPr>
          <p:nvPr>
            <p:ph type="body" sz="quarter" idx="12"/>
          </p:nvPr>
        </p:nvSpPr>
        <p:spPr>
          <a:xfrm>
            <a:off x="8398934" y="2424113"/>
            <a:ext cx="3405717" cy="347662"/>
          </a:xfrm>
        </p:spPr>
        <p:txBody>
          <a:bodyPr/>
          <a:lstStyle>
            <a:lvl1pPr marL="0" indent="0">
              <a:buNone/>
              <a:defRPr b="1">
                <a:solidFill>
                  <a:schemeClr val="bg1"/>
                </a:solidFill>
              </a:defRPr>
            </a:lvl1pPr>
            <a:lvl2pPr marL="342900" indent="0">
              <a:buNone/>
              <a:defRPr b="1"/>
            </a:lvl2pPr>
            <a:lvl3pPr marL="685800" indent="0">
              <a:buNone/>
              <a:defRPr b="1"/>
            </a:lvl3pPr>
            <a:lvl4pPr marL="1028700" indent="0">
              <a:buNone/>
              <a:defRPr b="1"/>
            </a:lvl4pPr>
            <a:lvl5pPr marL="1371600" indent="0">
              <a:buNone/>
              <a:defRPr b="1"/>
            </a:lvl5pPr>
          </a:lstStyle>
          <a:p>
            <a:pPr lvl="0"/>
            <a:r>
              <a:rPr lang="en-US" dirty="0"/>
              <a:t>Edit Master text </a:t>
            </a:r>
          </a:p>
        </p:txBody>
      </p:sp>
    </p:spTree>
    <p:extLst>
      <p:ext uri="{BB962C8B-B14F-4D97-AF65-F5344CB8AC3E}">
        <p14:creationId xmlns:p14="http://schemas.microsoft.com/office/powerpoint/2010/main" val="40968620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a:xfrm>
            <a:off x="838200" y="385175"/>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8" name="Rectangle 7">
            <a:extLst>
              <a:ext uri="{FF2B5EF4-FFF2-40B4-BE49-F238E27FC236}">
                <a16:creationId xmlns:a16="http://schemas.microsoft.com/office/drawing/2014/main" id="{525716D1-AF73-4031-B60E-CF938394112C}"/>
              </a:ext>
            </a:extLst>
          </p:cNvPr>
          <p:cNvSpPr/>
          <p:nvPr userDrawn="1"/>
        </p:nvSpPr>
        <p:spPr>
          <a:xfrm>
            <a:off x="370115" y="4384223"/>
            <a:ext cx="2725739" cy="6485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9" name="Rectangle 8">
            <a:extLst>
              <a:ext uri="{FF2B5EF4-FFF2-40B4-BE49-F238E27FC236}">
                <a16:creationId xmlns:a16="http://schemas.microsoft.com/office/drawing/2014/main" id="{6CC0E9C1-3269-47D6-B13D-CF8321C2FC23}"/>
              </a:ext>
            </a:extLst>
          </p:cNvPr>
          <p:cNvSpPr/>
          <p:nvPr userDrawn="1"/>
        </p:nvSpPr>
        <p:spPr>
          <a:xfrm>
            <a:off x="3233057" y="4384223"/>
            <a:ext cx="2725739" cy="6485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1" name="Rectangle 10">
            <a:extLst>
              <a:ext uri="{FF2B5EF4-FFF2-40B4-BE49-F238E27FC236}">
                <a16:creationId xmlns:a16="http://schemas.microsoft.com/office/drawing/2014/main" id="{D667AE97-D199-440E-BACF-7D81042039B5}"/>
              </a:ext>
            </a:extLst>
          </p:cNvPr>
          <p:cNvSpPr/>
          <p:nvPr userDrawn="1"/>
        </p:nvSpPr>
        <p:spPr>
          <a:xfrm>
            <a:off x="6096001" y="4384223"/>
            <a:ext cx="2725739" cy="6485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2" name="Rectangle 11">
            <a:extLst>
              <a:ext uri="{FF2B5EF4-FFF2-40B4-BE49-F238E27FC236}">
                <a16:creationId xmlns:a16="http://schemas.microsoft.com/office/drawing/2014/main" id="{109F39F1-B438-4295-8340-1B94CC0C9087}"/>
              </a:ext>
            </a:extLst>
          </p:cNvPr>
          <p:cNvSpPr/>
          <p:nvPr userDrawn="1"/>
        </p:nvSpPr>
        <p:spPr>
          <a:xfrm>
            <a:off x="8958944" y="4384223"/>
            <a:ext cx="2725739" cy="6485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7" name="Picture Placeholder 16">
            <a:extLst>
              <a:ext uri="{FF2B5EF4-FFF2-40B4-BE49-F238E27FC236}">
                <a16:creationId xmlns:a16="http://schemas.microsoft.com/office/drawing/2014/main" id="{A3BCDDC0-41C7-4329-AD96-A241DA53ADA1}"/>
              </a:ext>
            </a:extLst>
          </p:cNvPr>
          <p:cNvSpPr>
            <a:spLocks noGrp="1"/>
          </p:cNvSpPr>
          <p:nvPr>
            <p:ph type="pic" sz="quarter" idx="10"/>
          </p:nvPr>
        </p:nvSpPr>
        <p:spPr>
          <a:xfrm>
            <a:off x="369585" y="2098326"/>
            <a:ext cx="2726267" cy="2286000"/>
          </a:xfrm>
          <a:solidFill>
            <a:schemeClr val="bg1">
              <a:lumMod val="50000"/>
            </a:schemeClr>
          </a:solidFill>
        </p:spPr>
        <p:txBody>
          <a:bodyPr/>
          <a:lstStyle>
            <a:lvl1pPr marL="0" indent="0">
              <a:buNone/>
              <a:defRPr/>
            </a:lvl1pPr>
          </a:lstStyle>
          <a:p>
            <a:endParaRPr lang="en-US"/>
          </a:p>
        </p:txBody>
      </p:sp>
      <p:sp>
        <p:nvSpPr>
          <p:cNvPr id="18" name="Picture Placeholder 16">
            <a:extLst>
              <a:ext uri="{FF2B5EF4-FFF2-40B4-BE49-F238E27FC236}">
                <a16:creationId xmlns:a16="http://schemas.microsoft.com/office/drawing/2014/main" id="{D071A54B-0BCF-4EDF-9A6F-ED6E513FFA94}"/>
              </a:ext>
            </a:extLst>
          </p:cNvPr>
          <p:cNvSpPr>
            <a:spLocks noGrp="1"/>
          </p:cNvSpPr>
          <p:nvPr>
            <p:ph type="pic" sz="quarter" idx="11"/>
          </p:nvPr>
        </p:nvSpPr>
        <p:spPr>
          <a:xfrm>
            <a:off x="3232529" y="2098326"/>
            <a:ext cx="2726267" cy="2286000"/>
          </a:xfrm>
          <a:solidFill>
            <a:schemeClr val="bg1">
              <a:lumMod val="50000"/>
            </a:schemeClr>
          </a:solidFill>
        </p:spPr>
        <p:txBody>
          <a:bodyPr/>
          <a:lstStyle>
            <a:lvl1pPr marL="0" indent="0">
              <a:buNone/>
              <a:defRPr/>
            </a:lvl1pPr>
          </a:lstStyle>
          <a:p>
            <a:endParaRPr lang="en-US"/>
          </a:p>
        </p:txBody>
      </p:sp>
      <p:sp>
        <p:nvSpPr>
          <p:cNvPr id="19" name="Picture Placeholder 16">
            <a:extLst>
              <a:ext uri="{FF2B5EF4-FFF2-40B4-BE49-F238E27FC236}">
                <a16:creationId xmlns:a16="http://schemas.microsoft.com/office/drawing/2014/main" id="{21C9DCFB-C0D0-4335-B529-F8357523342B}"/>
              </a:ext>
            </a:extLst>
          </p:cNvPr>
          <p:cNvSpPr>
            <a:spLocks noGrp="1"/>
          </p:cNvSpPr>
          <p:nvPr>
            <p:ph type="pic" sz="quarter" idx="12"/>
          </p:nvPr>
        </p:nvSpPr>
        <p:spPr>
          <a:xfrm>
            <a:off x="6095473" y="2098326"/>
            <a:ext cx="2726267" cy="2286000"/>
          </a:xfrm>
          <a:solidFill>
            <a:schemeClr val="bg1">
              <a:lumMod val="50000"/>
            </a:schemeClr>
          </a:solidFill>
        </p:spPr>
        <p:txBody>
          <a:bodyPr/>
          <a:lstStyle>
            <a:lvl1pPr marL="0" indent="0">
              <a:buNone/>
              <a:defRPr/>
            </a:lvl1pPr>
          </a:lstStyle>
          <a:p>
            <a:endParaRPr lang="en-US"/>
          </a:p>
        </p:txBody>
      </p:sp>
      <p:sp>
        <p:nvSpPr>
          <p:cNvPr id="20" name="Picture Placeholder 16">
            <a:extLst>
              <a:ext uri="{FF2B5EF4-FFF2-40B4-BE49-F238E27FC236}">
                <a16:creationId xmlns:a16="http://schemas.microsoft.com/office/drawing/2014/main" id="{84C385EB-A72B-4114-9176-1AAE3B82E2AD}"/>
              </a:ext>
            </a:extLst>
          </p:cNvPr>
          <p:cNvSpPr>
            <a:spLocks noGrp="1"/>
          </p:cNvSpPr>
          <p:nvPr>
            <p:ph type="pic" sz="quarter" idx="13"/>
          </p:nvPr>
        </p:nvSpPr>
        <p:spPr>
          <a:xfrm>
            <a:off x="8958416" y="2098326"/>
            <a:ext cx="2726267" cy="2286000"/>
          </a:xfrm>
          <a:solidFill>
            <a:schemeClr val="bg1">
              <a:lumMod val="50000"/>
            </a:schemeClr>
          </a:solidFill>
        </p:spPr>
        <p:txBody>
          <a:bodyPr/>
          <a:lstStyle>
            <a:lvl1pPr marL="0" indent="0">
              <a:buNone/>
              <a:defRPr/>
            </a:lvl1pPr>
          </a:lstStyle>
          <a:p>
            <a:endParaRPr lang="en-US"/>
          </a:p>
        </p:txBody>
      </p:sp>
      <p:sp>
        <p:nvSpPr>
          <p:cNvPr id="22" name="Text Placeholder 21">
            <a:extLst>
              <a:ext uri="{FF2B5EF4-FFF2-40B4-BE49-F238E27FC236}">
                <a16:creationId xmlns:a16="http://schemas.microsoft.com/office/drawing/2014/main" id="{04CCCF82-2C46-499D-BCEB-0FEAA2B3A6AA}"/>
              </a:ext>
            </a:extLst>
          </p:cNvPr>
          <p:cNvSpPr>
            <a:spLocks noGrp="1"/>
          </p:cNvSpPr>
          <p:nvPr>
            <p:ph type="body" sz="quarter" idx="14"/>
          </p:nvPr>
        </p:nvSpPr>
        <p:spPr>
          <a:xfrm>
            <a:off x="501651"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3" name="Text Placeholder 21">
            <a:extLst>
              <a:ext uri="{FF2B5EF4-FFF2-40B4-BE49-F238E27FC236}">
                <a16:creationId xmlns:a16="http://schemas.microsoft.com/office/drawing/2014/main" id="{55C62183-A05D-4D67-844F-38479C65A126}"/>
              </a:ext>
            </a:extLst>
          </p:cNvPr>
          <p:cNvSpPr>
            <a:spLocks noGrp="1"/>
          </p:cNvSpPr>
          <p:nvPr>
            <p:ph type="body" sz="quarter" idx="15"/>
          </p:nvPr>
        </p:nvSpPr>
        <p:spPr>
          <a:xfrm>
            <a:off x="3366938"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4" name="Text Placeholder 21">
            <a:extLst>
              <a:ext uri="{FF2B5EF4-FFF2-40B4-BE49-F238E27FC236}">
                <a16:creationId xmlns:a16="http://schemas.microsoft.com/office/drawing/2014/main" id="{A67EB4D8-D628-4C57-A620-E85B0C55C2F8}"/>
              </a:ext>
            </a:extLst>
          </p:cNvPr>
          <p:cNvSpPr>
            <a:spLocks noGrp="1"/>
          </p:cNvSpPr>
          <p:nvPr>
            <p:ph type="body" sz="quarter" idx="16"/>
          </p:nvPr>
        </p:nvSpPr>
        <p:spPr>
          <a:xfrm>
            <a:off x="6229882" y="4451910"/>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
        <p:nvSpPr>
          <p:cNvPr id="25" name="Text Placeholder 21">
            <a:extLst>
              <a:ext uri="{FF2B5EF4-FFF2-40B4-BE49-F238E27FC236}">
                <a16:creationId xmlns:a16="http://schemas.microsoft.com/office/drawing/2014/main" id="{BED96436-518E-447D-B033-E8577697C97F}"/>
              </a:ext>
            </a:extLst>
          </p:cNvPr>
          <p:cNvSpPr>
            <a:spLocks noGrp="1"/>
          </p:cNvSpPr>
          <p:nvPr>
            <p:ph type="body" sz="quarter" idx="17"/>
          </p:nvPr>
        </p:nvSpPr>
        <p:spPr>
          <a:xfrm>
            <a:off x="9092825" y="4442357"/>
            <a:ext cx="2457449" cy="509588"/>
          </a:xfrm>
        </p:spPr>
        <p:txBody>
          <a:bodyPr>
            <a:noAutofit/>
          </a:bodyPr>
          <a:lstStyle>
            <a:lvl1pPr marL="0" indent="0" algn="ctr">
              <a:buNone/>
              <a:defRPr sz="1600" b="1">
                <a:solidFill>
                  <a:schemeClr val="bg1"/>
                </a:solidFill>
              </a:defRPr>
            </a:lvl1pPr>
            <a:lvl2pPr marL="342900" indent="0">
              <a:buNone/>
              <a:defRPr sz="1200" b="1">
                <a:solidFill>
                  <a:schemeClr val="bg1"/>
                </a:solidFill>
              </a:defRPr>
            </a:lvl2pPr>
            <a:lvl3pPr marL="685800" indent="0">
              <a:buNone/>
              <a:defRPr sz="1200" b="1">
                <a:solidFill>
                  <a:schemeClr val="bg1"/>
                </a:solidFill>
              </a:defRPr>
            </a:lvl3pPr>
            <a:lvl4pPr marL="1028700" indent="0">
              <a:buNone/>
              <a:defRPr sz="1200" b="1">
                <a:solidFill>
                  <a:schemeClr val="bg1"/>
                </a:solidFill>
              </a:defRPr>
            </a:lvl4pPr>
            <a:lvl5pPr marL="1371600" indent="0">
              <a:buNone/>
              <a:defRPr sz="1200" b="1">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304398916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Teardrop 3">
            <a:extLst>
              <a:ext uri="{FF2B5EF4-FFF2-40B4-BE49-F238E27FC236}">
                <a16:creationId xmlns:a16="http://schemas.microsoft.com/office/drawing/2014/main" id="{2D0D6095-11D0-4D8B-A5ED-4135BF8BA863}"/>
              </a:ext>
            </a:extLst>
          </p:cNvPr>
          <p:cNvSpPr/>
          <p:nvPr userDrawn="1"/>
        </p:nvSpPr>
        <p:spPr>
          <a:xfrm>
            <a:off x="1993328" y="2357798"/>
            <a:ext cx="914400" cy="6858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latin typeface="+mj-lt"/>
            </a:endParaRPr>
          </a:p>
        </p:txBody>
      </p:sp>
      <p:sp>
        <p:nvSpPr>
          <p:cNvPr id="6" name="Teardrop 5">
            <a:extLst>
              <a:ext uri="{FF2B5EF4-FFF2-40B4-BE49-F238E27FC236}">
                <a16:creationId xmlns:a16="http://schemas.microsoft.com/office/drawing/2014/main" id="{466068B4-7369-4A2D-BCBD-0852FB881A2C}"/>
              </a:ext>
            </a:extLst>
          </p:cNvPr>
          <p:cNvSpPr/>
          <p:nvPr userDrawn="1"/>
        </p:nvSpPr>
        <p:spPr>
          <a:xfrm>
            <a:off x="6217920" y="2357798"/>
            <a:ext cx="914400" cy="6858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8" name="Teardrop 7">
            <a:extLst>
              <a:ext uri="{FF2B5EF4-FFF2-40B4-BE49-F238E27FC236}">
                <a16:creationId xmlns:a16="http://schemas.microsoft.com/office/drawing/2014/main" id="{9698C2B4-9E25-4D0B-8FA2-74755CAAF237}"/>
              </a:ext>
            </a:extLst>
          </p:cNvPr>
          <p:cNvSpPr/>
          <p:nvPr userDrawn="1"/>
        </p:nvSpPr>
        <p:spPr>
          <a:xfrm>
            <a:off x="1993328" y="3436591"/>
            <a:ext cx="914400" cy="6858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1" name="Teardrop 10">
            <a:extLst>
              <a:ext uri="{FF2B5EF4-FFF2-40B4-BE49-F238E27FC236}">
                <a16:creationId xmlns:a16="http://schemas.microsoft.com/office/drawing/2014/main" id="{D225517D-7EAB-4332-8C26-E28A2B53322F}"/>
              </a:ext>
            </a:extLst>
          </p:cNvPr>
          <p:cNvSpPr/>
          <p:nvPr userDrawn="1"/>
        </p:nvSpPr>
        <p:spPr>
          <a:xfrm>
            <a:off x="6217920" y="3436591"/>
            <a:ext cx="914400" cy="6858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3" name="Teardrop 12">
            <a:extLst>
              <a:ext uri="{FF2B5EF4-FFF2-40B4-BE49-F238E27FC236}">
                <a16:creationId xmlns:a16="http://schemas.microsoft.com/office/drawing/2014/main" id="{CD8609AA-8D9B-4956-88BF-0D178BC6FFBE}"/>
              </a:ext>
            </a:extLst>
          </p:cNvPr>
          <p:cNvSpPr/>
          <p:nvPr userDrawn="1"/>
        </p:nvSpPr>
        <p:spPr>
          <a:xfrm>
            <a:off x="1993328" y="4515383"/>
            <a:ext cx="914400" cy="6858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5" name="Teardrop 14">
            <a:extLst>
              <a:ext uri="{FF2B5EF4-FFF2-40B4-BE49-F238E27FC236}">
                <a16:creationId xmlns:a16="http://schemas.microsoft.com/office/drawing/2014/main" id="{E9BAC08D-8BE3-494A-819B-602991A07FD6}"/>
              </a:ext>
            </a:extLst>
          </p:cNvPr>
          <p:cNvSpPr/>
          <p:nvPr userDrawn="1"/>
        </p:nvSpPr>
        <p:spPr>
          <a:xfrm>
            <a:off x="6217920" y="4515383"/>
            <a:ext cx="914400" cy="6858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sp>
        <p:nvSpPr>
          <p:cNvPr id="17" name="Text Placeholder 16">
            <a:extLst>
              <a:ext uri="{FF2B5EF4-FFF2-40B4-BE49-F238E27FC236}">
                <a16:creationId xmlns:a16="http://schemas.microsoft.com/office/drawing/2014/main" id="{5B81DCAF-010D-45E7-8899-537B2D12A218}"/>
              </a:ext>
            </a:extLst>
          </p:cNvPr>
          <p:cNvSpPr>
            <a:spLocks noGrp="1"/>
          </p:cNvSpPr>
          <p:nvPr>
            <p:ph type="body" sz="quarter" idx="10"/>
          </p:nvPr>
        </p:nvSpPr>
        <p:spPr>
          <a:xfrm>
            <a:off x="3028952" y="2300289"/>
            <a:ext cx="3067049" cy="308441"/>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9" name="Text Placeholder 18">
            <a:extLst>
              <a:ext uri="{FF2B5EF4-FFF2-40B4-BE49-F238E27FC236}">
                <a16:creationId xmlns:a16="http://schemas.microsoft.com/office/drawing/2014/main" id="{30FEC88E-164B-408D-B0A9-D956BC84F6A7}"/>
              </a:ext>
            </a:extLst>
          </p:cNvPr>
          <p:cNvSpPr>
            <a:spLocks noGrp="1"/>
          </p:cNvSpPr>
          <p:nvPr>
            <p:ph type="body" sz="quarter" idx="11"/>
          </p:nvPr>
        </p:nvSpPr>
        <p:spPr>
          <a:xfrm>
            <a:off x="3028952" y="2608264"/>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0" name="Text Placeholder 16">
            <a:extLst>
              <a:ext uri="{FF2B5EF4-FFF2-40B4-BE49-F238E27FC236}">
                <a16:creationId xmlns:a16="http://schemas.microsoft.com/office/drawing/2014/main" id="{A7561F5A-352C-422E-AB74-4E8449A1F3FA}"/>
              </a:ext>
            </a:extLst>
          </p:cNvPr>
          <p:cNvSpPr>
            <a:spLocks noGrp="1"/>
          </p:cNvSpPr>
          <p:nvPr>
            <p:ph type="body" sz="quarter" idx="12"/>
          </p:nvPr>
        </p:nvSpPr>
        <p:spPr>
          <a:xfrm>
            <a:off x="3028952" y="3432277"/>
            <a:ext cx="3067049" cy="308441"/>
          </a:xfrm>
        </p:spPr>
        <p:txBody>
          <a:bodyPr>
            <a:noAutofit/>
          </a:bodyPr>
          <a:lstStyle>
            <a:lvl1pPr marL="0" indent="0">
              <a:buNone/>
              <a:defRPr sz="1600" b="1">
                <a:solidFill>
                  <a:schemeClr val="accent2"/>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1" name="Text Placeholder 18">
            <a:extLst>
              <a:ext uri="{FF2B5EF4-FFF2-40B4-BE49-F238E27FC236}">
                <a16:creationId xmlns:a16="http://schemas.microsoft.com/office/drawing/2014/main" id="{E1F695C1-4192-4447-BDC0-C16A6219BBC0}"/>
              </a:ext>
            </a:extLst>
          </p:cNvPr>
          <p:cNvSpPr>
            <a:spLocks noGrp="1"/>
          </p:cNvSpPr>
          <p:nvPr>
            <p:ph type="body" sz="quarter" idx="13"/>
          </p:nvPr>
        </p:nvSpPr>
        <p:spPr>
          <a:xfrm>
            <a:off x="3028952" y="3740252"/>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2" name="Text Placeholder 16">
            <a:extLst>
              <a:ext uri="{FF2B5EF4-FFF2-40B4-BE49-F238E27FC236}">
                <a16:creationId xmlns:a16="http://schemas.microsoft.com/office/drawing/2014/main" id="{AAA8036C-6105-4CB0-96E9-A1F37C39FE79}"/>
              </a:ext>
            </a:extLst>
          </p:cNvPr>
          <p:cNvSpPr>
            <a:spLocks noGrp="1"/>
          </p:cNvSpPr>
          <p:nvPr>
            <p:ph type="body" sz="quarter" idx="14"/>
          </p:nvPr>
        </p:nvSpPr>
        <p:spPr>
          <a:xfrm>
            <a:off x="3028952" y="4516326"/>
            <a:ext cx="3067049" cy="308441"/>
          </a:xfrm>
        </p:spPr>
        <p:txBody>
          <a:bodyPr>
            <a:noAutofit/>
          </a:bodyPr>
          <a:lstStyle>
            <a:lvl1pPr marL="0" indent="0">
              <a:buNone/>
              <a:defRPr sz="1600" b="1">
                <a:solidFill>
                  <a:schemeClr val="accent3"/>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3" name="Text Placeholder 18">
            <a:extLst>
              <a:ext uri="{FF2B5EF4-FFF2-40B4-BE49-F238E27FC236}">
                <a16:creationId xmlns:a16="http://schemas.microsoft.com/office/drawing/2014/main" id="{A1AC7978-B1B9-47A2-BF36-C28DD7D81A96}"/>
              </a:ext>
            </a:extLst>
          </p:cNvPr>
          <p:cNvSpPr>
            <a:spLocks noGrp="1"/>
          </p:cNvSpPr>
          <p:nvPr>
            <p:ph type="body" sz="quarter" idx="15"/>
          </p:nvPr>
        </p:nvSpPr>
        <p:spPr>
          <a:xfrm>
            <a:off x="3028952" y="4824301"/>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4" name="Text Placeholder 16">
            <a:extLst>
              <a:ext uri="{FF2B5EF4-FFF2-40B4-BE49-F238E27FC236}">
                <a16:creationId xmlns:a16="http://schemas.microsoft.com/office/drawing/2014/main" id="{D7F5EE7A-2D7C-4CC6-8AC3-543D24DD706F}"/>
              </a:ext>
            </a:extLst>
          </p:cNvPr>
          <p:cNvSpPr>
            <a:spLocks noGrp="1"/>
          </p:cNvSpPr>
          <p:nvPr>
            <p:ph type="body" sz="quarter" idx="16"/>
          </p:nvPr>
        </p:nvSpPr>
        <p:spPr>
          <a:xfrm>
            <a:off x="7254241" y="2300289"/>
            <a:ext cx="3067049" cy="308441"/>
          </a:xfrm>
        </p:spPr>
        <p:txBody>
          <a:bodyPr>
            <a:noAutofit/>
          </a:bodyPr>
          <a:lstStyle>
            <a:lvl1pPr marL="0" indent="0">
              <a:buNone/>
              <a:defRPr sz="1600" b="1">
                <a:solidFill>
                  <a:schemeClr val="accent4"/>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5" name="Text Placeholder 18">
            <a:extLst>
              <a:ext uri="{FF2B5EF4-FFF2-40B4-BE49-F238E27FC236}">
                <a16:creationId xmlns:a16="http://schemas.microsoft.com/office/drawing/2014/main" id="{B3CD42A4-8C80-453E-8138-09C167FA221F}"/>
              </a:ext>
            </a:extLst>
          </p:cNvPr>
          <p:cNvSpPr>
            <a:spLocks noGrp="1"/>
          </p:cNvSpPr>
          <p:nvPr>
            <p:ph type="body" sz="quarter" idx="17"/>
          </p:nvPr>
        </p:nvSpPr>
        <p:spPr>
          <a:xfrm>
            <a:off x="7254241" y="2608264"/>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6" name="Text Placeholder 16">
            <a:extLst>
              <a:ext uri="{FF2B5EF4-FFF2-40B4-BE49-F238E27FC236}">
                <a16:creationId xmlns:a16="http://schemas.microsoft.com/office/drawing/2014/main" id="{03350350-BF90-4609-A717-D7F5868FA8EE}"/>
              </a:ext>
            </a:extLst>
          </p:cNvPr>
          <p:cNvSpPr>
            <a:spLocks noGrp="1"/>
          </p:cNvSpPr>
          <p:nvPr>
            <p:ph type="body" sz="quarter" idx="18"/>
          </p:nvPr>
        </p:nvSpPr>
        <p:spPr>
          <a:xfrm>
            <a:off x="7254241" y="3430104"/>
            <a:ext cx="3067049" cy="308441"/>
          </a:xfrm>
        </p:spPr>
        <p:txBody>
          <a:bodyPr>
            <a:noAutofit/>
          </a:bodyPr>
          <a:lstStyle>
            <a:lvl1pPr marL="0" indent="0">
              <a:buNone/>
              <a:defRPr sz="1600" b="1">
                <a:solidFill>
                  <a:schemeClr val="accent5"/>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7" name="Text Placeholder 18">
            <a:extLst>
              <a:ext uri="{FF2B5EF4-FFF2-40B4-BE49-F238E27FC236}">
                <a16:creationId xmlns:a16="http://schemas.microsoft.com/office/drawing/2014/main" id="{A50C8B0B-4101-43A6-B859-BA388785F727}"/>
              </a:ext>
            </a:extLst>
          </p:cNvPr>
          <p:cNvSpPr>
            <a:spLocks noGrp="1"/>
          </p:cNvSpPr>
          <p:nvPr>
            <p:ph type="body" sz="quarter" idx="19"/>
          </p:nvPr>
        </p:nvSpPr>
        <p:spPr>
          <a:xfrm>
            <a:off x="7254241" y="3738079"/>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28" name="Text Placeholder 16">
            <a:extLst>
              <a:ext uri="{FF2B5EF4-FFF2-40B4-BE49-F238E27FC236}">
                <a16:creationId xmlns:a16="http://schemas.microsoft.com/office/drawing/2014/main" id="{FD5AE5B8-BC41-4870-8227-74FAA8EDE056}"/>
              </a:ext>
            </a:extLst>
          </p:cNvPr>
          <p:cNvSpPr>
            <a:spLocks noGrp="1"/>
          </p:cNvSpPr>
          <p:nvPr>
            <p:ph type="body" sz="quarter" idx="20"/>
          </p:nvPr>
        </p:nvSpPr>
        <p:spPr>
          <a:xfrm>
            <a:off x="7254241" y="4516326"/>
            <a:ext cx="3067049" cy="308441"/>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9" name="Text Placeholder 18">
            <a:extLst>
              <a:ext uri="{FF2B5EF4-FFF2-40B4-BE49-F238E27FC236}">
                <a16:creationId xmlns:a16="http://schemas.microsoft.com/office/drawing/2014/main" id="{8C81ABD4-6066-453C-9493-AE035F483095}"/>
              </a:ext>
            </a:extLst>
          </p:cNvPr>
          <p:cNvSpPr>
            <a:spLocks noGrp="1"/>
          </p:cNvSpPr>
          <p:nvPr>
            <p:ph type="body" sz="quarter" idx="21"/>
          </p:nvPr>
        </p:nvSpPr>
        <p:spPr>
          <a:xfrm>
            <a:off x="7254241" y="4824301"/>
            <a:ext cx="30670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256227400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rvices Highlight_1">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1"/>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114282810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rvices Highlight_2">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2"/>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37530280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rvices Highlight_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3"/>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233921368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rvices Highlight_4">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4"/>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98505336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rvices Highlight_5">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5"/>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3196880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207"/>
        <p:cNvGrpSpPr/>
        <p:nvPr/>
      </p:nvGrpSpPr>
      <p:grpSpPr>
        <a:xfrm>
          <a:off x="0" y="0"/>
          <a:ext cx="0" cy="0"/>
          <a:chOff x="0" y="0"/>
          <a:chExt cx="0" cy="0"/>
        </a:xfrm>
      </p:grpSpPr>
      <p:sp>
        <p:nvSpPr>
          <p:cNvPr id="208" name="Google Shape;208;p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 name="Google Shape;209;p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 name="Google Shape;210;p21"/>
          <p:cNvGrpSpPr/>
          <p:nvPr/>
        </p:nvGrpSpPr>
        <p:grpSpPr>
          <a:xfrm>
            <a:off x="0" y="5379426"/>
            <a:ext cx="2807368" cy="753891"/>
            <a:chOff x="0" y="5379426"/>
            <a:chExt cx="2807368" cy="753891"/>
          </a:xfrm>
        </p:grpSpPr>
        <p:sp>
          <p:nvSpPr>
            <p:cNvPr id="211" name="Google Shape;211;p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3" name="Google Shape;213;p21"/>
          <p:cNvSpPr>
            <a:spLocks noGrp="1"/>
          </p:cNvSpPr>
          <p:nvPr>
            <p:ph type="pic" idx="2"/>
          </p:nvPr>
        </p:nvSpPr>
        <p:spPr>
          <a:xfrm>
            <a:off x="2807368" y="457202"/>
            <a:ext cx="8915400" cy="5943598"/>
          </a:xfrm>
          <a:prstGeom prst="rect">
            <a:avLst/>
          </a:prstGeom>
          <a:noFill/>
          <a:ln>
            <a:noFill/>
          </a:ln>
        </p:spPr>
      </p:sp>
      <p:pic>
        <p:nvPicPr>
          <p:cNvPr id="214" name="Google Shape;214;p2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rvices Highlight_6">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Rectangle 29">
            <a:extLst>
              <a:ext uri="{FF2B5EF4-FFF2-40B4-BE49-F238E27FC236}">
                <a16:creationId xmlns:a16="http://schemas.microsoft.com/office/drawing/2014/main" id="{B9FF5942-854C-486C-9268-135EABF5904B}"/>
              </a:ext>
            </a:extLst>
          </p:cNvPr>
          <p:cNvSpPr/>
          <p:nvPr userDrawn="1"/>
        </p:nvSpPr>
        <p:spPr>
          <a:xfrm>
            <a:off x="1816100" y="2302434"/>
            <a:ext cx="3470589" cy="26029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1" name="Teardrop 30">
            <a:extLst>
              <a:ext uri="{FF2B5EF4-FFF2-40B4-BE49-F238E27FC236}">
                <a16:creationId xmlns:a16="http://schemas.microsoft.com/office/drawing/2014/main" id="{4E270CEE-6067-4043-94DE-037D526C8B42}"/>
              </a:ext>
            </a:extLst>
          </p:cNvPr>
          <p:cNvSpPr/>
          <p:nvPr userDrawn="1"/>
        </p:nvSpPr>
        <p:spPr>
          <a:xfrm>
            <a:off x="5866828" y="2297029"/>
            <a:ext cx="914400" cy="6858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800" dirty="0">
              <a:solidFill>
                <a:prstClr val="white"/>
              </a:solidFill>
            </a:endParaRPr>
          </a:p>
        </p:txBody>
      </p:sp>
      <p:cxnSp>
        <p:nvCxnSpPr>
          <p:cNvPr id="33" name="Straight Connector 32">
            <a:extLst>
              <a:ext uri="{FF2B5EF4-FFF2-40B4-BE49-F238E27FC236}">
                <a16:creationId xmlns:a16="http://schemas.microsoft.com/office/drawing/2014/main" id="{CDF3ECFF-EC18-4CA7-B13F-76A82D4E4028}"/>
              </a:ext>
            </a:extLst>
          </p:cNvPr>
          <p:cNvCxnSpPr/>
          <p:nvPr userDrawn="1"/>
        </p:nvCxnSpPr>
        <p:spPr>
          <a:xfrm>
            <a:off x="5866828" y="3362325"/>
            <a:ext cx="5093272"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5" name="Isosceles Triangle 34">
            <a:extLst>
              <a:ext uri="{FF2B5EF4-FFF2-40B4-BE49-F238E27FC236}">
                <a16:creationId xmlns:a16="http://schemas.microsoft.com/office/drawing/2014/main" id="{AE46176C-6B44-46A8-9EA5-448D9016F1BB}"/>
              </a:ext>
            </a:extLst>
          </p:cNvPr>
          <p:cNvSpPr/>
          <p:nvPr userDrawn="1"/>
        </p:nvSpPr>
        <p:spPr>
          <a:xfrm rot="16200000">
            <a:off x="5712889" y="3616458"/>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7" name="Isosceles Triangle 36">
            <a:extLst>
              <a:ext uri="{FF2B5EF4-FFF2-40B4-BE49-F238E27FC236}">
                <a16:creationId xmlns:a16="http://schemas.microsoft.com/office/drawing/2014/main" id="{4E40DCD0-3D62-47D5-B15D-E10BFFDD602F}"/>
              </a:ext>
            </a:extLst>
          </p:cNvPr>
          <p:cNvSpPr/>
          <p:nvPr userDrawn="1"/>
        </p:nvSpPr>
        <p:spPr>
          <a:xfrm rot="16200000">
            <a:off x="5712889" y="4039439"/>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9" name="Isosceles Triangle 38">
            <a:extLst>
              <a:ext uri="{FF2B5EF4-FFF2-40B4-BE49-F238E27FC236}">
                <a16:creationId xmlns:a16="http://schemas.microsoft.com/office/drawing/2014/main" id="{382E7075-8670-42B9-B46A-CD5C1FA2FC08}"/>
              </a:ext>
            </a:extLst>
          </p:cNvPr>
          <p:cNvSpPr/>
          <p:nvPr userDrawn="1"/>
        </p:nvSpPr>
        <p:spPr>
          <a:xfrm rot="16200000">
            <a:off x="5712889" y="4462422"/>
            <a:ext cx="178689" cy="205391"/>
          </a:xfrm>
          <a:prstGeom prst="triangl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5" name="Picture Placeholder 4">
            <a:extLst>
              <a:ext uri="{FF2B5EF4-FFF2-40B4-BE49-F238E27FC236}">
                <a16:creationId xmlns:a16="http://schemas.microsoft.com/office/drawing/2014/main" id="{D0031B3E-B08E-47D8-9D08-8FCFE1D9B687}"/>
              </a:ext>
            </a:extLst>
          </p:cNvPr>
          <p:cNvSpPr>
            <a:spLocks noGrp="1"/>
          </p:cNvSpPr>
          <p:nvPr>
            <p:ph type="pic" sz="quarter" idx="10"/>
          </p:nvPr>
        </p:nvSpPr>
        <p:spPr>
          <a:xfrm>
            <a:off x="1811868" y="2297114"/>
            <a:ext cx="3494617" cy="2611437"/>
          </a:xfrm>
          <a:solidFill>
            <a:schemeClr val="bg1">
              <a:lumMod val="50000"/>
            </a:schemeClr>
          </a:solidFill>
        </p:spPr>
        <p:txBody>
          <a:bodyPr/>
          <a:lstStyle>
            <a:lvl1pPr marL="0" indent="0">
              <a:buNone/>
              <a:defRPr/>
            </a:lvl1pPr>
          </a:lstStyle>
          <a:p>
            <a:endParaRPr lang="en-US" dirty="0"/>
          </a:p>
        </p:txBody>
      </p:sp>
      <p:sp>
        <p:nvSpPr>
          <p:cNvPr id="40" name="Text Placeholder 16">
            <a:extLst>
              <a:ext uri="{FF2B5EF4-FFF2-40B4-BE49-F238E27FC236}">
                <a16:creationId xmlns:a16="http://schemas.microsoft.com/office/drawing/2014/main" id="{25DD26BF-2F20-4932-99CD-5C171D414227}"/>
              </a:ext>
            </a:extLst>
          </p:cNvPr>
          <p:cNvSpPr>
            <a:spLocks noGrp="1"/>
          </p:cNvSpPr>
          <p:nvPr>
            <p:ph type="body" sz="quarter" idx="11"/>
          </p:nvPr>
        </p:nvSpPr>
        <p:spPr>
          <a:xfrm>
            <a:off x="6991351" y="2297030"/>
            <a:ext cx="3968749" cy="307975"/>
          </a:xfrm>
        </p:spPr>
        <p:txBody>
          <a:bodyPr>
            <a:noAutofit/>
          </a:bodyPr>
          <a:lstStyle>
            <a:lvl1pPr marL="0" indent="0">
              <a:buNone/>
              <a:defRPr sz="1600" b="1">
                <a:solidFill>
                  <a:schemeClr val="accent6"/>
                </a:solidFill>
              </a:defRPr>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41" name="Text Placeholder 18">
            <a:extLst>
              <a:ext uri="{FF2B5EF4-FFF2-40B4-BE49-F238E27FC236}">
                <a16:creationId xmlns:a16="http://schemas.microsoft.com/office/drawing/2014/main" id="{90B57811-BFAD-4883-B05C-8C8D8EA490F4}"/>
              </a:ext>
            </a:extLst>
          </p:cNvPr>
          <p:cNvSpPr>
            <a:spLocks noGrp="1"/>
          </p:cNvSpPr>
          <p:nvPr>
            <p:ph type="body" sz="quarter" idx="12"/>
          </p:nvPr>
        </p:nvSpPr>
        <p:spPr>
          <a:xfrm>
            <a:off x="6991351" y="2605005"/>
            <a:ext cx="3968749" cy="434975"/>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3" name="Text Placeholder 18">
            <a:extLst>
              <a:ext uri="{FF2B5EF4-FFF2-40B4-BE49-F238E27FC236}">
                <a16:creationId xmlns:a16="http://schemas.microsoft.com/office/drawing/2014/main" id="{B4D8DA5E-BEEF-4235-AA3F-673B21FC3883}"/>
              </a:ext>
            </a:extLst>
          </p:cNvPr>
          <p:cNvSpPr>
            <a:spLocks noGrp="1"/>
          </p:cNvSpPr>
          <p:nvPr>
            <p:ph type="body" sz="quarter" idx="14"/>
          </p:nvPr>
        </p:nvSpPr>
        <p:spPr>
          <a:xfrm>
            <a:off x="6190404" y="4028979"/>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4" name="Text Placeholder 18">
            <a:extLst>
              <a:ext uri="{FF2B5EF4-FFF2-40B4-BE49-F238E27FC236}">
                <a16:creationId xmlns:a16="http://schemas.microsoft.com/office/drawing/2014/main" id="{B5A65B28-AE04-49FA-AFAB-03AACD6DB1FA}"/>
              </a:ext>
            </a:extLst>
          </p:cNvPr>
          <p:cNvSpPr>
            <a:spLocks noGrp="1"/>
          </p:cNvSpPr>
          <p:nvPr>
            <p:ph type="body" sz="quarter" idx="15"/>
          </p:nvPr>
        </p:nvSpPr>
        <p:spPr>
          <a:xfrm>
            <a:off x="6190404" y="4459472"/>
            <a:ext cx="4769697" cy="29671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
        <p:nvSpPr>
          <p:cNvPr id="45" name="Text Placeholder 18">
            <a:extLst>
              <a:ext uri="{FF2B5EF4-FFF2-40B4-BE49-F238E27FC236}">
                <a16:creationId xmlns:a16="http://schemas.microsoft.com/office/drawing/2014/main" id="{752DEBFC-DD79-43CF-9CD1-5B6A0A53E82A}"/>
              </a:ext>
            </a:extLst>
          </p:cNvPr>
          <p:cNvSpPr>
            <a:spLocks noGrp="1"/>
          </p:cNvSpPr>
          <p:nvPr>
            <p:ph type="body" sz="quarter" idx="16"/>
          </p:nvPr>
        </p:nvSpPr>
        <p:spPr>
          <a:xfrm>
            <a:off x="6190404" y="3598487"/>
            <a:ext cx="4769697" cy="327868"/>
          </a:xfrm>
        </p:spPr>
        <p:txBody>
          <a:bodyPr>
            <a:noAutofit/>
          </a:bodyPr>
          <a:lstStyle>
            <a:lvl1pPr marL="0" indent="0">
              <a:buNone/>
              <a:defRPr sz="1400">
                <a:solidFill>
                  <a:schemeClr val="tx1"/>
                </a:solidFill>
              </a:defRPr>
            </a:lvl1pPr>
            <a:lvl2pPr marL="342900" indent="0">
              <a:buNone/>
              <a:defRPr sz="1100">
                <a:solidFill>
                  <a:schemeClr val="tx1"/>
                </a:solidFill>
              </a:defRPr>
            </a:lvl2pPr>
            <a:lvl3pPr marL="685800" indent="0">
              <a:buNone/>
              <a:defRPr sz="1100">
                <a:solidFill>
                  <a:schemeClr val="tx1"/>
                </a:solidFill>
              </a:defRPr>
            </a:lvl3pPr>
            <a:lvl4pPr marL="1028700" indent="0">
              <a:buNone/>
              <a:defRPr sz="1100">
                <a:solidFill>
                  <a:schemeClr val="tx1"/>
                </a:solidFill>
              </a:defRPr>
            </a:lvl4pPr>
            <a:lvl5pPr marL="1371600" indent="0">
              <a:buNone/>
              <a:defRPr sz="11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99580645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29A3-3920-44E6-90B6-1A8DFE22D077}"/>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3771ED2F-6EEF-4F79-805D-71C3646CA207}"/>
              </a:ext>
            </a:extLst>
          </p:cNvPr>
          <p:cNvCxnSpPr/>
          <p:nvPr userDrawn="1"/>
        </p:nvCxnSpPr>
        <p:spPr>
          <a:xfrm>
            <a:off x="2057895"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96CDCC-587A-4EDA-A2A4-5FB6EBD978F2}"/>
              </a:ext>
            </a:extLst>
          </p:cNvPr>
          <p:cNvCxnSpPr/>
          <p:nvPr userDrawn="1"/>
        </p:nvCxnSpPr>
        <p:spPr>
          <a:xfrm>
            <a:off x="5217177"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8032D99-60F2-442F-86B5-C9514D95E461}"/>
              </a:ext>
            </a:extLst>
          </p:cNvPr>
          <p:cNvCxnSpPr/>
          <p:nvPr userDrawn="1"/>
        </p:nvCxnSpPr>
        <p:spPr>
          <a:xfrm>
            <a:off x="8641362"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AB9C936-8715-46D0-971F-CA8D10EBA214}"/>
              </a:ext>
            </a:extLst>
          </p:cNvPr>
          <p:cNvSpPr>
            <a:spLocks noGrp="1"/>
          </p:cNvSpPr>
          <p:nvPr>
            <p:ph type="body" sz="quarter" idx="10"/>
          </p:nvPr>
        </p:nvSpPr>
        <p:spPr>
          <a:xfrm>
            <a:off x="1185014" y="4637134"/>
            <a:ext cx="3207071"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7" name="Text Placeholder 15">
            <a:extLst>
              <a:ext uri="{FF2B5EF4-FFF2-40B4-BE49-F238E27FC236}">
                <a16:creationId xmlns:a16="http://schemas.microsoft.com/office/drawing/2014/main" id="{D020E67B-1831-4A2B-A70C-201D68AF7D71}"/>
              </a:ext>
            </a:extLst>
          </p:cNvPr>
          <p:cNvSpPr>
            <a:spLocks noGrp="1"/>
          </p:cNvSpPr>
          <p:nvPr>
            <p:ph type="body" sz="quarter" idx="11"/>
          </p:nvPr>
        </p:nvSpPr>
        <p:spPr>
          <a:xfrm>
            <a:off x="4499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8" name="Text Placeholder 15">
            <a:extLst>
              <a:ext uri="{FF2B5EF4-FFF2-40B4-BE49-F238E27FC236}">
                <a16:creationId xmlns:a16="http://schemas.microsoft.com/office/drawing/2014/main" id="{36BCA36B-9F5F-4D43-825E-A71A28D9EB18}"/>
              </a:ext>
            </a:extLst>
          </p:cNvPr>
          <p:cNvSpPr>
            <a:spLocks noGrp="1"/>
          </p:cNvSpPr>
          <p:nvPr>
            <p:ph type="body" sz="quarter" idx="12"/>
          </p:nvPr>
        </p:nvSpPr>
        <p:spPr>
          <a:xfrm>
            <a:off x="7801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0" name="Text Placeholder 19">
            <a:extLst>
              <a:ext uri="{FF2B5EF4-FFF2-40B4-BE49-F238E27FC236}">
                <a16:creationId xmlns:a16="http://schemas.microsoft.com/office/drawing/2014/main" id="{96B8DD44-7814-4799-9273-DE18182DCB9D}"/>
              </a:ext>
            </a:extLst>
          </p:cNvPr>
          <p:cNvSpPr>
            <a:spLocks noGrp="1"/>
          </p:cNvSpPr>
          <p:nvPr>
            <p:ph type="body" sz="quarter" idx="13"/>
          </p:nvPr>
        </p:nvSpPr>
        <p:spPr>
          <a:xfrm>
            <a:off x="1185334" y="5086350"/>
            <a:ext cx="3206751"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1" name="Text Placeholder 19">
            <a:extLst>
              <a:ext uri="{FF2B5EF4-FFF2-40B4-BE49-F238E27FC236}">
                <a16:creationId xmlns:a16="http://schemas.microsoft.com/office/drawing/2014/main" id="{E489ECAE-D6AC-4B5C-BA1B-278916FBDFBC}"/>
              </a:ext>
            </a:extLst>
          </p:cNvPr>
          <p:cNvSpPr>
            <a:spLocks noGrp="1"/>
          </p:cNvSpPr>
          <p:nvPr>
            <p:ph type="body" sz="quarter" idx="14"/>
          </p:nvPr>
        </p:nvSpPr>
        <p:spPr>
          <a:xfrm>
            <a:off x="4499717" y="5086350"/>
            <a:ext cx="3207599"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2" name="Text Placeholder 19">
            <a:extLst>
              <a:ext uri="{FF2B5EF4-FFF2-40B4-BE49-F238E27FC236}">
                <a16:creationId xmlns:a16="http://schemas.microsoft.com/office/drawing/2014/main" id="{4774B119-C251-48E5-AF97-7EE8378763EF}"/>
              </a:ext>
            </a:extLst>
          </p:cNvPr>
          <p:cNvSpPr>
            <a:spLocks noGrp="1"/>
          </p:cNvSpPr>
          <p:nvPr>
            <p:ph type="body" sz="quarter" idx="15"/>
          </p:nvPr>
        </p:nvSpPr>
        <p:spPr>
          <a:xfrm>
            <a:off x="7801715" y="5086350"/>
            <a:ext cx="3207600"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3" name="Subtitle 2">
            <a:extLst>
              <a:ext uri="{FF2B5EF4-FFF2-40B4-BE49-F238E27FC236}">
                <a16:creationId xmlns:a16="http://schemas.microsoft.com/office/drawing/2014/main" id="{2A3835E5-6E6F-433D-9E3E-123C68F422F1}"/>
              </a:ext>
            </a:extLst>
          </p:cNvPr>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5" name="Picture Placeholder 24">
            <a:extLst>
              <a:ext uri="{FF2B5EF4-FFF2-40B4-BE49-F238E27FC236}">
                <a16:creationId xmlns:a16="http://schemas.microsoft.com/office/drawing/2014/main" id="{68288F94-B27C-4C81-B71F-B5457F323090}"/>
              </a:ext>
            </a:extLst>
          </p:cNvPr>
          <p:cNvSpPr>
            <a:spLocks noGrp="1"/>
          </p:cNvSpPr>
          <p:nvPr>
            <p:ph type="pic" sz="quarter" idx="16"/>
          </p:nvPr>
        </p:nvSpPr>
        <p:spPr>
          <a:xfrm>
            <a:off x="1185013" y="2078220"/>
            <a:ext cx="3208867" cy="2406650"/>
          </a:xfrm>
          <a:solidFill>
            <a:schemeClr val="bg1">
              <a:lumMod val="50000"/>
            </a:schemeClr>
          </a:solidFill>
        </p:spPr>
        <p:txBody>
          <a:bodyPr/>
          <a:lstStyle/>
          <a:p>
            <a:endParaRPr lang="en-US"/>
          </a:p>
        </p:txBody>
      </p:sp>
      <p:sp>
        <p:nvSpPr>
          <p:cNvPr id="26" name="Picture Placeholder 24">
            <a:extLst>
              <a:ext uri="{FF2B5EF4-FFF2-40B4-BE49-F238E27FC236}">
                <a16:creationId xmlns:a16="http://schemas.microsoft.com/office/drawing/2014/main" id="{616609DD-BB85-4F5D-9408-5681A903A070}"/>
              </a:ext>
            </a:extLst>
          </p:cNvPr>
          <p:cNvSpPr>
            <a:spLocks noGrp="1"/>
          </p:cNvSpPr>
          <p:nvPr>
            <p:ph type="pic" sz="quarter" idx="17"/>
          </p:nvPr>
        </p:nvSpPr>
        <p:spPr>
          <a:xfrm>
            <a:off x="4499715" y="2078220"/>
            <a:ext cx="3208867" cy="2406650"/>
          </a:xfrm>
          <a:solidFill>
            <a:schemeClr val="bg1">
              <a:lumMod val="50000"/>
            </a:schemeClr>
          </a:solidFill>
        </p:spPr>
        <p:txBody>
          <a:bodyPr/>
          <a:lstStyle/>
          <a:p>
            <a:endParaRPr lang="en-US"/>
          </a:p>
        </p:txBody>
      </p:sp>
      <p:sp>
        <p:nvSpPr>
          <p:cNvPr id="27" name="Picture Placeholder 24">
            <a:extLst>
              <a:ext uri="{FF2B5EF4-FFF2-40B4-BE49-F238E27FC236}">
                <a16:creationId xmlns:a16="http://schemas.microsoft.com/office/drawing/2014/main" id="{A281B67C-3163-433E-9326-7FB451699C27}"/>
              </a:ext>
            </a:extLst>
          </p:cNvPr>
          <p:cNvSpPr>
            <a:spLocks noGrp="1"/>
          </p:cNvSpPr>
          <p:nvPr>
            <p:ph type="pic" sz="quarter" idx="18"/>
          </p:nvPr>
        </p:nvSpPr>
        <p:spPr>
          <a:xfrm>
            <a:off x="7814416" y="2084527"/>
            <a:ext cx="3208867" cy="2406650"/>
          </a:xfrm>
          <a:solidFill>
            <a:schemeClr val="bg1">
              <a:lumMod val="50000"/>
            </a:schemeClr>
          </a:solidFill>
        </p:spPr>
        <p:txBody>
          <a:bodyPr/>
          <a:lstStyle/>
          <a:p>
            <a:endParaRPr lang="en-US"/>
          </a:p>
        </p:txBody>
      </p:sp>
    </p:spTree>
    <p:extLst>
      <p:ext uri="{BB962C8B-B14F-4D97-AF65-F5344CB8AC3E}">
        <p14:creationId xmlns:p14="http://schemas.microsoft.com/office/powerpoint/2010/main" val="34135056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Right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6564851" y="1975460"/>
            <a:ext cx="4842933" cy="3711575"/>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974851"/>
            <a:ext cx="5257800" cy="3711575"/>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154398881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Right 2-Up">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7120991" y="1821711"/>
            <a:ext cx="4132333" cy="1859550"/>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821102"/>
            <a:ext cx="5894373" cy="3906096"/>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
        <p:nvSpPr>
          <p:cNvPr id="7" name="Picture Placeholder 13">
            <a:extLst>
              <a:ext uri="{FF2B5EF4-FFF2-40B4-BE49-F238E27FC236}">
                <a16:creationId xmlns:a16="http://schemas.microsoft.com/office/drawing/2014/main" id="{70879DFA-2D11-4203-AE6C-DD5A7982695A}"/>
              </a:ext>
            </a:extLst>
          </p:cNvPr>
          <p:cNvSpPr>
            <a:spLocks noGrp="1"/>
          </p:cNvSpPr>
          <p:nvPr>
            <p:ph type="pic" sz="quarter" idx="13"/>
          </p:nvPr>
        </p:nvSpPr>
        <p:spPr>
          <a:xfrm>
            <a:off x="7120991" y="3867648"/>
            <a:ext cx="4132333" cy="1859550"/>
          </a:xfrm>
          <a:solidFill>
            <a:schemeClr val="bg1">
              <a:lumMod val="50000"/>
            </a:schemeClr>
          </a:solidFill>
        </p:spPr>
        <p:txBody>
          <a:bodyPr/>
          <a:lstStyle>
            <a:lvl1pPr marL="0" indent="0">
              <a:buNone/>
              <a:defRPr/>
            </a:lvl1pPr>
          </a:lstStyle>
          <a:p>
            <a:endParaRPr lang="en-US" dirty="0"/>
          </a:p>
        </p:txBody>
      </p:sp>
    </p:spTree>
    <p:extLst>
      <p:ext uri="{BB962C8B-B14F-4D97-AF65-F5344CB8AC3E}">
        <p14:creationId xmlns:p14="http://schemas.microsoft.com/office/powerpoint/2010/main" val="411902819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eft 2-Up">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838200" y="1821711"/>
            <a:ext cx="4132333" cy="1859550"/>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5459427" y="1821102"/>
            <a:ext cx="5894373" cy="3906096"/>
          </a:xfrm>
        </p:spPr>
        <p:txBody>
          <a:bodyPr>
            <a:normAutofit/>
          </a:bodyPr>
          <a:lstStyle>
            <a:lvl1pPr marL="0" indent="0" algn="l">
              <a:buNone/>
              <a:defRPr sz="1800"/>
            </a:lvl1pPr>
            <a:lvl2pPr>
              <a:defRPr sz="1200"/>
            </a:lvl2pPr>
            <a:lvl3pPr>
              <a:defRPr sz="1200"/>
            </a:lvl3pPr>
            <a:lvl4pPr>
              <a:defRPr sz="1200"/>
            </a:lvl4pPr>
            <a:lvl5pPr>
              <a:defRPr sz="1200"/>
            </a:lvl5pPr>
          </a:lstStyle>
          <a:p>
            <a:pPr lvl="0"/>
            <a:endParaRPr lang="en-US" dirty="0"/>
          </a:p>
        </p:txBody>
      </p:sp>
      <p:sp>
        <p:nvSpPr>
          <p:cNvPr id="7" name="Picture Placeholder 13">
            <a:extLst>
              <a:ext uri="{FF2B5EF4-FFF2-40B4-BE49-F238E27FC236}">
                <a16:creationId xmlns:a16="http://schemas.microsoft.com/office/drawing/2014/main" id="{70879DFA-2D11-4203-AE6C-DD5A7982695A}"/>
              </a:ext>
            </a:extLst>
          </p:cNvPr>
          <p:cNvSpPr>
            <a:spLocks noGrp="1"/>
          </p:cNvSpPr>
          <p:nvPr>
            <p:ph type="pic" sz="quarter" idx="13"/>
          </p:nvPr>
        </p:nvSpPr>
        <p:spPr>
          <a:xfrm>
            <a:off x="838200" y="3867648"/>
            <a:ext cx="4132333" cy="1859550"/>
          </a:xfrm>
          <a:solidFill>
            <a:schemeClr val="bg1">
              <a:lumMod val="50000"/>
            </a:schemeClr>
          </a:solidFill>
        </p:spPr>
        <p:txBody>
          <a:bodyPr/>
          <a:lstStyle>
            <a:lvl1pPr marL="0" indent="0">
              <a:buNone/>
              <a:defRPr/>
            </a:lvl1pPr>
          </a:lstStyle>
          <a:p>
            <a:endParaRPr lang="en-US" dirty="0"/>
          </a:p>
        </p:txBody>
      </p:sp>
    </p:spTree>
    <p:extLst>
      <p:ext uri="{BB962C8B-B14F-4D97-AF65-F5344CB8AC3E}">
        <p14:creationId xmlns:p14="http://schemas.microsoft.com/office/powerpoint/2010/main" val="311449150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eft Image">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5" name="Picture Placeholder 13">
            <a:extLst>
              <a:ext uri="{FF2B5EF4-FFF2-40B4-BE49-F238E27FC236}">
                <a16:creationId xmlns:a16="http://schemas.microsoft.com/office/drawing/2014/main" id="{6BA8BEDB-E42D-46C2-AC5A-58690552667E}"/>
              </a:ext>
            </a:extLst>
          </p:cNvPr>
          <p:cNvSpPr>
            <a:spLocks noGrp="1"/>
          </p:cNvSpPr>
          <p:nvPr>
            <p:ph type="pic" sz="quarter" idx="11"/>
          </p:nvPr>
        </p:nvSpPr>
        <p:spPr>
          <a:xfrm>
            <a:off x="838200" y="1974851"/>
            <a:ext cx="4842933" cy="3711575"/>
          </a:xfrm>
          <a:solidFill>
            <a:schemeClr val="bg1">
              <a:lumMod val="50000"/>
            </a:schemeClr>
          </a:solidFill>
        </p:spPr>
        <p:txBody>
          <a:bodyPr/>
          <a:lstStyle>
            <a:lvl1pPr marL="0" indent="0">
              <a:buNone/>
              <a:defRPr/>
            </a:lvl1pPr>
          </a:lstStyle>
          <a:p>
            <a:endParaRPr lang="en-US"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6078071" y="1974851"/>
            <a:ext cx="5257800" cy="3711575"/>
          </a:xfrm>
        </p:spPr>
        <p:txBody>
          <a:bodyPr>
            <a:normAutofit/>
          </a:bodyPr>
          <a:lstStyle>
            <a:lvl1pPr marL="0" indent="0">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275492858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Right Objec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7A8F0D6-7BF0-42B2-9D47-4F2ED1434773}"/>
              </a:ext>
            </a:extLst>
          </p:cNvPr>
          <p:cNvSpPr>
            <a:spLocks noGrp="1"/>
          </p:cNvSpPr>
          <p:nvPr>
            <p:ph sz="quarter" idx="14"/>
          </p:nvPr>
        </p:nvSpPr>
        <p:spPr>
          <a:xfrm>
            <a:off x="6430434" y="1974851"/>
            <a:ext cx="4923367" cy="3711575"/>
          </a:xfrm>
          <a:solidFill>
            <a:schemeClr val="bg1">
              <a:lumMod val="85000"/>
            </a:schemeClr>
          </a:solidFill>
        </p:spPr>
        <p:txBody>
          <a:bodyPr/>
          <a:lstStyle>
            <a:lvl1pPr marL="0" indent="0">
              <a:buNone/>
              <a:defRPr/>
            </a:lvl1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838200" y="1974851"/>
            <a:ext cx="5257800" cy="3711575"/>
          </a:xfrm>
        </p:spPr>
        <p:txBody>
          <a:bodyPr>
            <a:normAutofit/>
          </a:bodyPr>
          <a:lstStyle>
            <a:lvl1pPr marL="0" indent="0" algn="r">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302240484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eft Objec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7A8F0D6-7BF0-42B2-9D47-4F2ED1434773}"/>
              </a:ext>
            </a:extLst>
          </p:cNvPr>
          <p:cNvSpPr>
            <a:spLocks noGrp="1"/>
          </p:cNvSpPr>
          <p:nvPr>
            <p:ph sz="quarter" idx="14"/>
          </p:nvPr>
        </p:nvSpPr>
        <p:spPr>
          <a:xfrm>
            <a:off x="838200" y="1974851"/>
            <a:ext cx="4923367" cy="3711575"/>
          </a:xfrm>
          <a:solidFill>
            <a:schemeClr val="bg1">
              <a:lumMod val="85000"/>
            </a:schemeClr>
          </a:solidFill>
        </p:spPr>
        <p:txBody>
          <a:bodyPr/>
          <a:lstStyle>
            <a:lvl1pPr marL="0" indent="0">
              <a:buNone/>
              <a:defRPr/>
            </a:lvl1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6" name="Text Placeholder 15">
            <a:extLst>
              <a:ext uri="{FF2B5EF4-FFF2-40B4-BE49-F238E27FC236}">
                <a16:creationId xmlns:a16="http://schemas.microsoft.com/office/drawing/2014/main" id="{8ACC1427-86FD-4448-B4EC-40DF932201F0}"/>
              </a:ext>
            </a:extLst>
          </p:cNvPr>
          <p:cNvSpPr>
            <a:spLocks noGrp="1"/>
          </p:cNvSpPr>
          <p:nvPr>
            <p:ph type="body" sz="quarter" idx="12"/>
          </p:nvPr>
        </p:nvSpPr>
        <p:spPr>
          <a:xfrm>
            <a:off x="6096000" y="1974851"/>
            <a:ext cx="5257800" cy="3711575"/>
          </a:xfrm>
        </p:spPr>
        <p:txBody>
          <a:bodyPr>
            <a:normAutofit/>
          </a:bodyPr>
          <a:lstStyle>
            <a:lvl1pPr marL="0" indent="0" algn="l">
              <a:buNone/>
              <a:defRPr sz="1800"/>
            </a:lvl1pPr>
            <a:lvl2pPr>
              <a:defRPr sz="1200"/>
            </a:lvl2pPr>
            <a:lvl3pPr>
              <a:defRPr sz="1200"/>
            </a:lvl3pPr>
            <a:lvl4pPr>
              <a:defRPr sz="1200"/>
            </a:lvl4pPr>
            <a:lvl5pPr>
              <a:defRPr sz="1200"/>
            </a:lvl5pPr>
          </a:lstStyle>
          <a:p>
            <a:pPr lvl="0"/>
            <a:endParaRPr lang="en-US" dirty="0"/>
          </a:p>
        </p:txBody>
      </p:sp>
    </p:spTree>
    <p:extLst>
      <p:ext uri="{BB962C8B-B14F-4D97-AF65-F5344CB8AC3E}">
        <p14:creationId xmlns:p14="http://schemas.microsoft.com/office/powerpoint/2010/main" val="326753694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30" name="Text Placeholder 29">
            <a:extLst>
              <a:ext uri="{FF2B5EF4-FFF2-40B4-BE49-F238E27FC236}">
                <a16:creationId xmlns:a16="http://schemas.microsoft.com/office/drawing/2014/main" id="{C8AAEF4E-F08F-4A8E-87DA-9E820AEE8331}"/>
              </a:ext>
            </a:extLst>
          </p:cNvPr>
          <p:cNvSpPr>
            <a:spLocks noGrp="1"/>
          </p:cNvSpPr>
          <p:nvPr>
            <p:ph type="body" sz="quarter" idx="10"/>
          </p:nvPr>
        </p:nvSpPr>
        <p:spPr>
          <a:xfrm>
            <a:off x="838200" y="2041452"/>
            <a:ext cx="10515600" cy="3444949"/>
          </a:xfrm>
        </p:spPr>
        <p:txBody>
          <a:bodyPr numCol="2" spcCol="365760">
            <a:normAutofit/>
          </a:bodyPr>
          <a:lstStyle>
            <a:lvl1pPr marL="0" indent="0" algn="l">
              <a:buFont typeface="+mj-lt"/>
              <a:buNone/>
              <a:defRPr sz="1800">
                <a:latin typeface="+mn-lt"/>
              </a:defRPr>
            </a:lvl1pPr>
            <a:lvl2pPr>
              <a:defRPr>
                <a:latin typeface="+mj-lt"/>
              </a:defRPr>
            </a:lvl2pPr>
            <a:lvl3pPr>
              <a:defRPr>
                <a:latin typeface="+mj-lt"/>
              </a:defRPr>
            </a:lvl3pPr>
            <a:lvl4pPr>
              <a:defRPr>
                <a:latin typeface="+mj-lt"/>
              </a:defRPr>
            </a:lvl4pPr>
            <a:lvl5pPr>
              <a:defRPr>
                <a:latin typeface="+mj-lt"/>
              </a:defRPr>
            </a:lvl5pPr>
          </a:lstStyle>
          <a:p>
            <a:pPr lvl="0"/>
            <a:endParaRPr lang="en-US" dirty="0"/>
          </a:p>
        </p:txBody>
      </p:sp>
    </p:spTree>
    <p:extLst>
      <p:ext uri="{BB962C8B-B14F-4D97-AF65-F5344CB8AC3E}">
        <p14:creationId xmlns:p14="http://schemas.microsoft.com/office/powerpoint/2010/main" val="265105291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vent Calendar">
    <p:spTree>
      <p:nvGrpSpPr>
        <p:cNvPr id="1" name=""/>
        <p:cNvGrpSpPr/>
        <p:nvPr/>
      </p:nvGrpSpPr>
      <p:grpSpPr>
        <a:xfrm>
          <a:off x="0" y="0"/>
          <a:ext cx="0" cy="0"/>
          <a:chOff x="0" y="0"/>
          <a:chExt cx="0" cy="0"/>
        </a:xfrm>
      </p:grpSpPr>
      <p:sp>
        <p:nvSpPr>
          <p:cNvPr id="30" name="Picture Placeholder 28">
            <a:extLst>
              <a:ext uri="{FF2B5EF4-FFF2-40B4-BE49-F238E27FC236}">
                <a16:creationId xmlns:a16="http://schemas.microsoft.com/office/drawing/2014/main" id="{2C221300-5489-47FD-8F67-D30EBDCD9E7D}"/>
              </a:ext>
            </a:extLst>
          </p:cNvPr>
          <p:cNvSpPr>
            <a:spLocks noGrp="1"/>
          </p:cNvSpPr>
          <p:nvPr>
            <p:ph type="pic" sz="quarter" idx="12"/>
          </p:nvPr>
        </p:nvSpPr>
        <p:spPr>
          <a:xfrm>
            <a:off x="8409825" y="2055813"/>
            <a:ext cx="2590800" cy="1951037"/>
          </a:xfrm>
          <a:solidFill>
            <a:schemeClr val="bg1">
              <a:lumMod val="50000"/>
            </a:schemeClr>
          </a:solidFill>
        </p:spPr>
        <p:txBody>
          <a:bodyPr>
            <a:normAutofit/>
          </a:bodyPr>
          <a:lstStyle>
            <a:lvl1pPr marL="0" indent="0">
              <a:buNone/>
              <a:defRPr sz="1100"/>
            </a:lvl1pPr>
          </a:lstStyle>
          <a:p>
            <a:endParaRPr lang="en-US" dirty="0"/>
          </a:p>
        </p:txBody>
      </p:sp>
      <p:sp>
        <p:nvSpPr>
          <p:cNvPr id="29" name="Picture Placeholder 28">
            <a:extLst>
              <a:ext uri="{FF2B5EF4-FFF2-40B4-BE49-F238E27FC236}">
                <a16:creationId xmlns:a16="http://schemas.microsoft.com/office/drawing/2014/main" id="{23264F53-345E-491E-91FD-A7FE54292BBC}"/>
              </a:ext>
            </a:extLst>
          </p:cNvPr>
          <p:cNvSpPr>
            <a:spLocks noGrp="1"/>
          </p:cNvSpPr>
          <p:nvPr>
            <p:ph type="pic" sz="quarter" idx="11"/>
          </p:nvPr>
        </p:nvSpPr>
        <p:spPr>
          <a:xfrm>
            <a:off x="5024967" y="2055814"/>
            <a:ext cx="2590800" cy="1951037"/>
          </a:xfrm>
          <a:solidFill>
            <a:schemeClr val="bg1">
              <a:lumMod val="50000"/>
            </a:schemeClr>
          </a:solidFill>
        </p:spPr>
        <p:txBody>
          <a:bodyPr>
            <a:normAutofit/>
          </a:bodyPr>
          <a:lstStyle>
            <a:lvl1pPr marL="0" indent="0">
              <a:buNone/>
              <a:defRPr sz="1100"/>
            </a:lvl1pPr>
          </a:lstStyle>
          <a:p>
            <a:endParaRPr lang="en-US" dirty="0"/>
          </a:p>
        </p:txBody>
      </p:sp>
      <p:sp>
        <p:nvSpPr>
          <p:cNvPr id="27" name="Text Placeholder 26">
            <a:extLst>
              <a:ext uri="{FF2B5EF4-FFF2-40B4-BE49-F238E27FC236}">
                <a16:creationId xmlns:a16="http://schemas.microsoft.com/office/drawing/2014/main" id="{8442D473-8DBB-4267-BEBE-7FD9807CABC7}"/>
              </a:ext>
            </a:extLst>
          </p:cNvPr>
          <p:cNvSpPr>
            <a:spLocks noGrp="1"/>
          </p:cNvSpPr>
          <p:nvPr>
            <p:ph type="body" sz="quarter" idx="10"/>
          </p:nvPr>
        </p:nvSpPr>
        <p:spPr>
          <a:xfrm>
            <a:off x="5024776" y="4577959"/>
            <a:ext cx="5981699" cy="856352"/>
          </a:xfrm>
        </p:spPr>
        <p:txBody>
          <a:bodyPr>
            <a:normAutofit/>
          </a:bodyPr>
          <a:lstStyle>
            <a:lvl1pPr marL="0" indent="0">
              <a:buNone/>
              <a:defRPr sz="1200"/>
            </a:lvl1pPr>
            <a:lvl2pPr marL="342900" indent="0" algn="l">
              <a:lnSpc>
                <a:spcPct val="100000"/>
              </a:lnSpc>
              <a:buNone/>
              <a:defRPr sz="1200"/>
            </a:lvl2pPr>
          </a:lstStyle>
          <a:p>
            <a:pPr lvl="0"/>
            <a:endParaRPr lang="en-US" dirty="0"/>
          </a:p>
        </p:txBody>
      </p:sp>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graphicFrame>
        <p:nvGraphicFramePr>
          <p:cNvPr id="5" name="Table 4">
            <a:extLst>
              <a:ext uri="{FF2B5EF4-FFF2-40B4-BE49-F238E27FC236}">
                <a16:creationId xmlns:a16="http://schemas.microsoft.com/office/drawing/2014/main" id="{16F7C943-38CB-408E-B7FE-B682CD6CBABC}"/>
              </a:ext>
            </a:extLst>
          </p:cNvPr>
          <p:cNvGraphicFramePr>
            <a:graphicFrameLocks noGrp="1"/>
          </p:cNvGraphicFramePr>
          <p:nvPr userDrawn="1"/>
        </p:nvGraphicFramePr>
        <p:xfrm>
          <a:off x="850901" y="1992465"/>
          <a:ext cx="3749417" cy="3349430"/>
        </p:xfrm>
        <a:graphic>
          <a:graphicData uri="http://schemas.openxmlformats.org/drawingml/2006/table">
            <a:tbl>
              <a:tblPr firstRow="1" bandRow="1">
                <a:tableStyleId>{5A111915-BE36-4E01-A7E5-04B1672EAD32}</a:tableStyleId>
              </a:tblPr>
              <a:tblGrid>
                <a:gridCol w="535631">
                  <a:extLst>
                    <a:ext uri="{9D8B030D-6E8A-4147-A177-3AD203B41FA5}">
                      <a16:colId xmlns:a16="http://schemas.microsoft.com/office/drawing/2014/main" val="20000"/>
                    </a:ext>
                  </a:extLst>
                </a:gridCol>
                <a:gridCol w="535631">
                  <a:extLst>
                    <a:ext uri="{9D8B030D-6E8A-4147-A177-3AD203B41FA5}">
                      <a16:colId xmlns:a16="http://schemas.microsoft.com/office/drawing/2014/main" val="20001"/>
                    </a:ext>
                  </a:extLst>
                </a:gridCol>
                <a:gridCol w="535631">
                  <a:extLst>
                    <a:ext uri="{9D8B030D-6E8A-4147-A177-3AD203B41FA5}">
                      <a16:colId xmlns:a16="http://schemas.microsoft.com/office/drawing/2014/main" val="20002"/>
                    </a:ext>
                  </a:extLst>
                </a:gridCol>
                <a:gridCol w="535631">
                  <a:extLst>
                    <a:ext uri="{9D8B030D-6E8A-4147-A177-3AD203B41FA5}">
                      <a16:colId xmlns:a16="http://schemas.microsoft.com/office/drawing/2014/main" val="20003"/>
                    </a:ext>
                  </a:extLst>
                </a:gridCol>
                <a:gridCol w="535631">
                  <a:extLst>
                    <a:ext uri="{9D8B030D-6E8A-4147-A177-3AD203B41FA5}">
                      <a16:colId xmlns:a16="http://schemas.microsoft.com/office/drawing/2014/main" val="20004"/>
                    </a:ext>
                  </a:extLst>
                </a:gridCol>
                <a:gridCol w="535631">
                  <a:extLst>
                    <a:ext uri="{9D8B030D-6E8A-4147-A177-3AD203B41FA5}">
                      <a16:colId xmlns:a16="http://schemas.microsoft.com/office/drawing/2014/main" val="20005"/>
                    </a:ext>
                  </a:extLst>
                </a:gridCol>
                <a:gridCol w="535631">
                  <a:extLst>
                    <a:ext uri="{9D8B030D-6E8A-4147-A177-3AD203B41FA5}">
                      <a16:colId xmlns:a16="http://schemas.microsoft.com/office/drawing/2014/main" val="20006"/>
                    </a:ext>
                  </a:extLst>
                </a:gridCol>
              </a:tblGrid>
              <a:tr h="720090">
                <a:tc gridSpan="7">
                  <a:txBody>
                    <a:bodyPr/>
                    <a:lstStyle/>
                    <a:p>
                      <a:pPr algn="ctr"/>
                      <a:endParaRPr lang="en-US" sz="1500" dirty="0">
                        <a:latin typeface="+mj-lt"/>
                      </a:endParaRPr>
                    </a:p>
                    <a:p>
                      <a:pPr algn="ctr"/>
                      <a:endParaRPr lang="en-US" sz="1500" dirty="0">
                        <a:latin typeface="+mj-lt"/>
                      </a:endParaRPr>
                    </a:p>
                  </a:txBody>
                  <a:tcPr marL="60960" marR="6096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tc hMerge="1">
                  <a:txBody>
                    <a:bodyPr/>
                    <a:lstStyle/>
                    <a:p>
                      <a:pPr algn="ctr"/>
                      <a:endParaRPr lang="en-US" sz="1200" dirty="0"/>
                    </a:p>
                  </a:txBody>
                  <a:tcPr marL="45720" marR="45720" marT="22860" marB="22860" anchor="ctr">
                    <a:lnL w="12700" cap="flat" cmpd="sng" algn="ctr">
                      <a:solidFill>
                        <a:prstClr val="white">
                          <a:lumMod val="50000"/>
                        </a:prstClr>
                      </a:solidFill>
                      <a:prstDash val="solid"/>
                      <a:round/>
                      <a:headEnd type="none" w="med" len="med"/>
                      <a:tailEnd type="none" w="med" len="med"/>
                    </a:lnL>
                    <a:lnR w="12700" cap="flat" cmpd="sng" algn="ctr">
                      <a:solidFill>
                        <a:prstClr val="white">
                          <a:lumMod val="50000"/>
                        </a:prstClr>
                      </a:solidFill>
                      <a:prstDash val="solid"/>
                      <a:round/>
                      <a:headEnd type="none" w="med" len="med"/>
                      <a:tailEnd type="none" w="med" len="med"/>
                    </a:lnR>
                    <a:lnT w="12700" cap="flat" cmpd="sng" algn="ctr">
                      <a:solidFill>
                        <a:prstClr val="white">
                          <a:lumMod val="50000"/>
                        </a:prstClr>
                      </a:solidFill>
                      <a:prstDash val="solid"/>
                      <a:round/>
                      <a:headEnd type="none" w="med" len="med"/>
                      <a:tailEnd type="none" w="med" len="med"/>
                    </a:lnT>
                    <a:lnB w="12700" cap="flat" cmpd="sng" algn="ctr">
                      <a:solidFill>
                        <a:prstClr val="white">
                          <a:lumMod val="50000"/>
                        </a:prstClr>
                      </a:solidFill>
                      <a:prstDash val="solid"/>
                      <a:round/>
                      <a:headEnd type="none" w="med" len="med"/>
                      <a:tailEnd type="none" w="med" len="med"/>
                    </a:lnB>
                    <a:solidFill>
                      <a:srgbClr val="535353"/>
                    </a:solidFill>
                  </a:tcPr>
                </a:tc>
                <a:extLst>
                  <a:ext uri="{0D108BD9-81ED-4DB2-BD59-A6C34878D82A}">
                    <a16:rowId xmlns:a16="http://schemas.microsoft.com/office/drawing/2014/main" val="10000"/>
                  </a:ext>
                </a:extLst>
              </a:tr>
              <a:tr h="375620">
                <a:tc>
                  <a:txBody>
                    <a:bodyPr/>
                    <a:lstStyle/>
                    <a:p>
                      <a:pPr algn="ctr"/>
                      <a:r>
                        <a:rPr lang="en-US" sz="1200" dirty="0">
                          <a:solidFill>
                            <a:schemeClr val="tx1"/>
                          </a:solidFill>
                          <a:latin typeface="Lato Medium" panose="020F0602020204030203" pitchFamily="34" charset="0"/>
                          <a:cs typeface="Lato Medium" panose="020F0602020204030203" pitchFamily="34" charset="0"/>
                        </a:rPr>
                        <a:t>S</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M</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T</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W</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T</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F</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r>
                        <a:rPr lang="en-US" sz="1200" dirty="0">
                          <a:solidFill>
                            <a:schemeClr val="tx1"/>
                          </a:solidFill>
                          <a:latin typeface="Lato Medium" panose="020F0602020204030203" pitchFamily="34" charset="0"/>
                          <a:cs typeface="Lato Medium" panose="020F0602020204030203" pitchFamily="34" charset="0"/>
                        </a:rPr>
                        <a:t>S</a:t>
                      </a: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r h="375620">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75620">
                <a:tc>
                  <a:txBody>
                    <a:bodyPr/>
                    <a:lstStyle/>
                    <a:p>
                      <a:pPr algn="ctr"/>
                      <a:endParaRPr lang="en-US" sz="1200" dirty="0">
                        <a:solidFill>
                          <a:schemeClr val="tx1"/>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dirty="0">
                        <a:solidFill>
                          <a:schemeClr val="bg1">
                            <a:lumMod val="75000"/>
                          </a:schemeClr>
                        </a:solidFill>
                      </a:endParaRPr>
                    </a:p>
                  </a:txBody>
                  <a:tcPr marL="45720" marR="45720" marT="17145" marB="17145"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2211833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5"/>
        <p:cNvGrpSpPr/>
        <p:nvPr/>
      </p:nvGrpSpPr>
      <p:grpSpPr>
        <a:xfrm>
          <a:off x="0" y="0"/>
          <a:ext cx="0" cy="0"/>
          <a:chOff x="0" y="0"/>
          <a:chExt cx="0" cy="0"/>
        </a:xfrm>
      </p:grpSpPr>
      <p:sp>
        <p:nvSpPr>
          <p:cNvPr id="216" name="Google Shape;216;p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 name="Google Shape;217;p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2" name="Google Shape;222;p22"/>
          <p:cNvGrpSpPr/>
          <p:nvPr/>
        </p:nvGrpSpPr>
        <p:grpSpPr>
          <a:xfrm>
            <a:off x="7191542" y="1"/>
            <a:ext cx="5000459" cy="1425992"/>
            <a:chOff x="7191542" y="1"/>
            <a:chExt cx="5000459" cy="1425992"/>
          </a:xfrm>
        </p:grpSpPr>
        <p:pic>
          <p:nvPicPr>
            <p:cNvPr id="223" name="Google Shape;223;p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 name="Google Shape;224;p22"/>
            <p:cNvGrpSpPr/>
            <p:nvPr/>
          </p:nvGrpSpPr>
          <p:grpSpPr>
            <a:xfrm>
              <a:off x="7191542" y="1"/>
              <a:ext cx="5000459" cy="1425992"/>
              <a:chOff x="7186272" y="0"/>
              <a:chExt cx="5005729" cy="1427495"/>
            </a:xfrm>
          </p:grpSpPr>
          <p:sp>
            <p:nvSpPr>
              <p:cNvPr id="225" name="Google Shape;225;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7" name="Google Shape;227;p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meline (1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4" name="Oval 3">
            <a:extLst>
              <a:ext uri="{FF2B5EF4-FFF2-40B4-BE49-F238E27FC236}">
                <a16:creationId xmlns:a16="http://schemas.microsoft.com/office/drawing/2014/main" id="{00C7782F-18B3-4130-A899-9774F21AC5A4}"/>
              </a:ext>
            </a:extLst>
          </p:cNvPr>
          <p:cNvSpPr/>
          <p:nvPr userDrawn="1"/>
        </p:nvSpPr>
        <p:spPr>
          <a:xfrm>
            <a:off x="5818442" y="2178546"/>
            <a:ext cx="651127" cy="488345"/>
          </a:xfrm>
          <a:prstGeom prst="ellipse">
            <a:avLst/>
          </a:prstGeom>
          <a:solidFill>
            <a:schemeClr val="bg1"/>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5" name="Oval 4">
            <a:extLst>
              <a:ext uri="{FF2B5EF4-FFF2-40B4-BE49-F238E27FC236}">
                <a16:creationId xmlns:a16="http://schemas.microsoft.com/office/drawing/2014/main" id="{66EA07D3-37C0-4FCA-A590-254E90094878}"/>
              </a:ext>
            </a:extLst>
          </p:cNvPr>
          <p:cNvSpPr/>
          <p:nvPr userDrawn="1"/>
        </p:nvSpPr>
        <p:spPr>
          <a:xfrm>
            <a:off x="5923582" y="2257400"/>
            <a:ext cx="440845" cy="330634"/>
          </a:xfrm>
          <a:prstGeom prst="ellipse">
            <a:avLst/>
          </a:prstGeom>
          <a:solidFill>
            <a:schemeClr val="tx1">
              <a:lumMod val="50000"/>
              <a:lumOff val="50000"/>
            </a:schemeClr>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6" name="Straight Connector 5">
            <a:extLst>
              <a:ext uri="{FF2B5EF4-FFF2-40B4-BE49-F238E27FC236}">
                <a16:creationId xmlns:a16="http://schemas.microsoft.com/office/drawing/2014/main" id="{90644A3B-2447-4ADD-99F7-945BE2CD425C}"/>
              </a:ext>
            </a:extLst>
          </p:cNvPr>
          <p:cNvCxnSpPr>
            <a:cxnSpLocks/>
            <a:stCxn id="4" idx="4"/>
            <a:endCxn id="7" idx="0"/>
          </p:cNvCxnSpPr>
          <p:nvPr userDrawn="1"/>
        </p:nvCxnSpPr>
        <p:spPr>
          <a:xfrm flipH="1">
            <a:off x="6144003" y="2666891"/>
            <a:ext cx="3" cy="40370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D96476A-6CB5-49F1-BA47-8C44D21904B9}"/>
              </a:ext>
            </a:extLst>
          </p:cNvPr>
          <p:cNvSpPr/>
          <p:nvPr userDrawn="1"/>
        </p:nvSpPr>
        <p:spPr>
          <a:xfrm>
            <a:off x="6043294" y="3070596"/>
            <a:ext cx="201420" cy="151065"/>
          </a:xfrm>
          <a:prstGeom prst="ellipse">
            <a:avLst/>
          </a:prstGeom>
          <a:solidFill>
            <a:schemeClr val="bg1"/>
          </a:solidFill>
          <a:ln w="381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8" name="Oval 7">
            <a:extLst>
              <a:ext uri="{FF2B5EF4-FFF2-40B4-BE49-F238E27FC236}">
                <a16:creationId xmlns:a16="http://schemas.microsoft.com/office/drawing/2014/main" id="{ABEDE558-BEBC-4FE2-87A6-B5D3BB89591B}"/>
              </a:ext>
            </a:extLst>
          </p:cNvPr>
          <p:cNvSpPr/>
          <p:nvPr userDrawn="1"/>
        </p:nvSpPr>
        <p:spPr>
          <a:xfrm>
            <a:off x="6043294" y="3766162"/>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9" name="Straight Connector 8">
            <a:extLst>
              <a:ext uri="{FF2B5EF4-FFF2-40B4-BE49-F238E27FC236}">
                <a16:creationId xmlns:a16="http://schemas.microsoft.com/office/drawing/2014/main" id="{45D5A90F-6EA3-4353-BF2E-56E3C283161D}"/>
              </a:ext>
            </a:extLst>
          </p:cNvPr>
          <p:cNvCxnSpPr>
            <a:cxnSpLocks/>
            <a:stCxn id="7" idx="4"/>
            <a:endCxn id="8" idx="0"/>
          </p:cNvCxnSpPr>
          <p:nvPr userDrawn="1"/>
        </p:nvCxnSpPr>
        <p:spPr>
          <a:xfrm>
            <a:off x="6144003" y="3221659"/>
            <a:ext cx="0" cy="544502"/>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 name="Group 39">
            <a:extLst>
              <a:ext uri="{FF2B5EF4-FFF2-40B4-BE49-F238E27FC236}">
                <a16:creationId xmlns:a16="http://schemas.microsoft.com/office/drawing/2014/main" id="{92941B3E-38B9-4267-AEF4-D0F4D8718986}"/>
              </a:ext>
            </a:extLst>
          </p:cNvPr>
          <p:cNvGrpSpPr/>
          <p:nvPr/>
        </p:nvGrpSpPr>
        <p:grpSpPr>
          <a:xfrm>
            <a:off x="4432769" y="2961376"/>
            <a:ext cx="1560169" cy="377669"/>
            <a:chOff x="3733800" y="2193131"/>
            <a:chExt cx="575470" cy="185738"/>
          </a:xfrm>
          <a:solidFill>
            <a:schemeClr val="tx2"/>
          </a:solidFill>
        </p:grpSpPr>
        <p:sp>
          <p:nvSpPr>
            <p:cNvPr id="14" name="Rounded Rectangle 12">
              <a:extLst>
                <a:ext uri="{FF2B5EF4-FFF2-40B4-BE49-F238E27FC236}">
                  <a16:creationId xmlns:a16="http://schemas.microsoft.com/office/drawing/2014/main" id="{4D33422A-5C68-4871-B3E9-67F747D86B3E}"/>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sp>
          <p:nvSpPr>
            <p:cNvPr id="15" name="Isosceles Triangle 14">
              <a:extLst>
                <a:ext uri="{FF2B5EF4-FFF2-40B4-BE49-F238E27FC236}">
                  <a16:creationId xmlns:a16="http://schemas.microsoft.com/office/drawing/2014/main" id="{FCA0C6BB-338D-43EA-A886-D133B7B557EE}"/>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grpSp>
      <p:grpSp>
        <p:nvGrpSpPr>
          <p:cNvPr id="17" name="Group 39">
            <a:extLst>
              <a:ext uri="{FF2B5EF4-FFF2-40B4-BE49-F238E27FC236}">
                <a16:creationId xmlns:a16="http://schemas.microsoft.com/office/drawing/2014/main" id="{E7FB948A-2044-42D3-901C-EEB45B9EC0B0}"/>
              </a:ext>
            </a:extLst>
          </p:cNvPr>
          <p:cNvGrpSpPr/>
          <p:nvPr/>
        </p:nvGrpSpPr>
        <p:grpSpPr>
          <a:xfrm flipH="1">
            <a:off x="6364184" y="3655857"/>
            <a:ext cx="1569131" cy="371681"/>
            <a:chOff x="3733800" y="2193131"/>
            <a:chExt cx="575470" cy="185738"/>
          </a:xfrm>
          <a:solidFill>
            <a:schemeClr val="accent1"/>
          </a:solidFill>
        </p:grpSpPr>
        <p:sp>
          <p:nvSpPr>
            <p:cNvPr id="19" name="Rounded Rectangle 17">
              <a:extLst>
                <a:ext uri="{FF2B5EF4-FFF2-40B4-BE49-F238E27FC236}">
                  <a16:creationId xmlns:a16="http://schemas.microsoft.com/office/drawing/2014/main" id="{77075976-ECF9-433B-A54E-922320D02A5C}"/>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sp>
          <p:nvSpPr>
            <p:cNvPr id="20" name="Isosceles Triangle 19">
              <a:extLst>
                <a:ext uri="{FF2B5EF4-FFF2-40B4-BE49-F238E27FC236}">
                  <a16:creationId xmlns:a16="http://schemas.microsoft.com/office/drawing/2014/main" id="{3F32E232-DD44-4C0C-A0ED-A0F868ADE76D}"/>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i="1"/>
            </a:p>
          </p:txBody>
        </p:sp>
      </p:grpSp>
      <p:grpSp>
        <p:nvGrpSpPr>
          <p:cNvPr id="21" name="Group 20">
            <a:extLst>
              <a:ext uri="{FF2B5EF4-FFF2-40B4-BE49-F238E27FC236}">
                <a16:creationId xmlns:a16="http://schemas.microsoft.com/office/drawing/2014/main" id="{9C770EAA-5B22-4BC0-A16B-8B81F3F8E081}"/>
              </a:ext>
            </a:extLst>
          </p:cNvPr>
          <p:cNvGrpSpPr/>
          <p:nvPr userDrawn="1"/>
        </p:nvGrpSpPr>
        <p:grpSpPr>
          <a:xfrm>
            <a:off x="1023199" y="3456803"/>
            <a:ext cx="4882587" cy="1288421"/>
            <a:chOff x="1023199" y="3767990"/>
            <a:chExt cx="4882586" cy="1717895"/>
          </a:xfrm>
        </p:grpSpPr>
        <p:sp>
          <p:nvSpPr>
            <p:cNvPr id="22" name="Rectangle 21">
              <a:extLst>
                <a:ext uri="{FF2B5EF4-FFF2-40B4-BE49-F238E27FC236}">
                  <a16:creationId xmlns:a16="http://schemas.microsoft.com/office/drawing/2014/main" id="{DE60F5BE-B6BC-4FFF-968D-FAC03F5205DD}"/>
                </a:ext>
              </a:extLst>
            </p:cNvPr>
            <p:cNvSpPr/>
            <p:nvPr/>
          </p:nvSpPr>
          <p:spPr>
            <a:xfrm>
              <a:off x="1023199" y="3767990"/>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1561AAF4-3F54-4ABC-9FFE-25CADAEEED8D}"/>
                </a:ext>
              </a:extLst>
            </p:cNvPr>
            <p:cNvSpPr/>
            <p:nvPr/>
          </p:nvSpPr>
          <p:spPr>
            <a:xfrm>
              <a:off x="4195785" y="3775885"/>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dirty="0"/>
            </a:p>
          </p:txBody>
        </p:sp>
      </p:grpSp>
      <p:grpSp>
        <p:nvGrpSpPr>
          <p:cNvPr id="25" name="Group 24">
            <a:extLst>
              <a:ext uri="{FF2B5EF4-FFF2-40B4-BE49-F238E27FC236}">
                <a16:creationId xmlns:a16="http://schemas.microsoft.com/office/drawing/2014/main" id="{F4D2F9A4-3F05-4FCC-AD68-6FBA3F7C9606}"/>
              </a:ext>
            </a:extLst>
          </p:cNvPr>
          <p:cNvGrpSpPr/>
          <p:nvPr userDrawn="1"/>
        </p:nvGrpSpPr>
        <p:grpSpPr>
          <a:xfrm>
            <a:off x="6478927" y="4132122"/>
            <a:ext cx="4845788" cy="1284857"/>
            <a:chOff x="6487553" y="4935835"/>
            <a:chExt cx="4845788" cy="1713142"/>
          </a:xfrm>
        </p:grpSpPr>
        <p:sp>
          <p:nvSpPr>
            <p:cNvPr id="26" name="Rectangle 25">
              <a:extLst>
                <a:ext uri="{FF2B5EF4-FFF2-40B4-BE49-F238E27FC236}">
                  <a16:creationId xmlns:a16="http://schemas.microsoft.com/office/drawing/2014/main" id="{F8B0D7D4-CA81-4A3D-8D0E-B7FCF69EC0CA}"/>
                </a:ext>
              </a:extLst>
            </p:cNvPr>
            <p:cNvSpPr/>
            <p:nvPr/>
          </p:nvSpPr>
          <p:spPr>
            <a:xfrm>
              <a:off x="6487553" y="4937134"/>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ectangle 27">
              <a:extLst>
                <a:ext uri="{FF2B5EF4-FFF2-40B4-BE49-F238E27FC236}">
                  <a16:creationId xmlns:a16="http://schemas.microsoft.com/office/drawing/2014/main" id="{F607F2B0-6D32-40A2-9BCB-28BDAB18FE14}"/>
                </a:ext>
              </a:extLst>
            </p:cNvPr>
            <p:cNvSpPr/>
            <p:nvPr/>
          </p:nvSpPr>
          <p:spPr>
            <a:xfrm>
              <a:off x="6487553" y="4935835"/>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sp>
        <p:nvSpPr>
          <p:cNvPr id="30" name="Picture Placeholder 29">
            <a:extLst>
              <a:ext uri="{FF2B5EF4-FFF2-40B4-BE49-F238E27FC236}">
                <a16:creationId xmlns:a16="http://schemas.microsoft.com/office/drawing/2014/main" id="{876041A9-0058-47D8-B613-4E550B7B2F9A}"/>
              </a:ext>
            </a:extLst>
          </p:cNvPr>
          <p:cNvSpPr>
            <a:spLocks noGrp="1"/>
          </p:cNvSpPr>
          <p:nvPr>
            <p:ph type="pic" sz="quarter" idx="10"/>
          </p:nvPr>
        </p:nvSpPr>
        <p:spPr>
          <a:xfrm>
            <a:off x="4195233" y="3457575"/>
            <a:ext cx="1710267" cy="1282700"/>
          </a:xfrm>
          <a:solidFill>
            <a:schemeClr val="bg1">
              <a:lumMod val="50000"/>
            </a:schemeClr>
          </a:solidFill>
        </p:spPr>
        <p:txBody>
          <a:bodyPr>
            <a:normAutofit/>
          </a:bodyPr>
          <a:lstStyle>
            <a:lvl1pPr marL="0" indent="0">
              <a:buNone/>
              <a:defRPr sz="1100"/>
            </a:lvl1pPr>
          </a:lstStyle>
          <a:p>
            <a:endParaRPr lang="en-US" dirty="0"/>
          </a:p>
        </p:txBody>
      </p:sp>
      <p:sp>
        <p:nvSpPr>
          <p:cNvPr id="32" name="Picture Placeholder 31">
            <a:extLst>
              <a:ext uri="{FF2B5EF4-FFF2-40B4-BE49-F238E27FC236}">
                <a16:creationId xmlns:a16="http://schemas.microsoft.com/office/drawing/2014/main" id="{AA95C3F6-18C8-4AD5-A730-517CD9506CF4}"/>
              </a:ext>
            </a:extLst>
          </p:cNvPr>
          <p:cNvSpPr>
            <a:spLocks noGrp="1"/>
          </p:cNvSpPr>
          <p:nvPr>
            <p:ph type="pic" sz="quarter" idx="11"/>
          </p:nvPr>
        </p:nvSpPr>
        <p:spPr>
          <a:xfrm>
            <a:off x="6487584" y="4132263"/>
            <a:ext cx="1701800" cy="1282700"/>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277263433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meline (2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7" name="Oval 26">
            <a:extLst>
              <a:ext uri="{FF2B5EF4-FFF2-40B4-BE49-F238E27FC236}">
                <a16:creationId xmlns:a16="http://schemas.microsoft.com/office/drawing/2014/main" id="{6C7947B2-6A77-4C21-8C2A-CA07B5E45CF4}"/>
              </a:ext>
            </a:extLst>
          </p:cNvPr>
          <p:cNvSpPr/>
          <p:nvPr userDrawn="1"/>
        </p:nvSpPr>
        <p:spPr>
          <a:xfrm>
            <a:off x="6043294" y="1865515"/>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29" name="Oval 28">
            <a:extLst>
              <a:ext uri="{FF2B5EF4-FFF2-40B4-BE49-F238E27FC236}">
                <a16:creationId xmlns:a16="http://schemas.microsoft.com/office/drawing/2014/main" id="{66CCA429-0AAE-4DE9-A6C6-73C436DEF18A}"/>
              </a:ext>
            </a:extLst>
          </p:cNvPr>
          <p:cNvSpPr/>
          <p:nvPr userDrawn="1"/>
        </p:nvSpPr>
        <p:spPr>
          <a:xfrm>
            <a:off x="6043294" y="2987517"/>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31" name="Straight Connector 30">
            <a:extLst>
              <a:ext uri="{FF2B5EF4-FFF2-40B4-BE49-F238E27FC236}">
                <a16:creationId xmlns:a16="http://schemas.microsoft.com/office/drawing/2014/main" id="{C3415A8D-11A4-4A5C-B66E-1D4DFD0456B1}"/>
              </a:ext>
            </a:extLst>
          </p:cNvPr>
          <p:cNvCxnSpPr>
            <a:stCxn id="27" idx="4"/>
            <a:endCxn id="29" idx="0"/>
          </p:cNvCxnSpPr>
          <p:nvPr userDrawn="1"/>
        </p:nvCxnSpPr>
        <p:spPr>
          <a:xfrm>
            <a:off x="6144003" y="2016580"/>
            <a:ext cx="0" cy="9709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4" name="Group 39">
            <a:extLst>
              <a:ext uri="{FF2B5EF4-FFF2-40B4-BE49-F238E27FC236}">
                <a16:creationId xmlns:a16="http://schemas.microsoft.com/office/drawing/2014/main" id="{1380567A-6589-4834-B006-86C3457F9286}"/>
              </a:ext>
            </a:extLst>
          </p:cNvPr>
          <p:cNvGrpSpPr/>
          <p:nvPr/>
        </p:nvGrpSpPr>
        <p:grpSpPr>
          <a:xfrm>
            <a:off x="4367033" y="1752213"/>
            <a:ext cx="1560169" cy="377669"/>
            <a:chOff x="3733800" y="2193131"/>
            <a:chExt cx="575470" cy="185738"/>
          </a:xfrm>
          <a:solidFill>
            <a:schemeClr val="accent2"/>
          </a:solidFill>
        </p:grpSpPr>
        <p:sp>
          <p:nvSpPr>
            <p:cNvPr id="36" name="Rounded Rectangle 61">
              <a:extLst>
                <a:ext uri="{FF2B5EF4-FFF2-40B4-BE49-F238E27FC236}">
                  <a16:creationId xmlns:a16="http://schemas.microsoft.com/office/drawing/2014/main" id="{27F6F504-FD4C-42B6-BA8D-D6FA5118B3E9}"/>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37" name="Isosceles Triangle 36">
              <a:extLst>
                <a:ext uri="{FF2B5EF4-FFF2-40B4-BE49-F238E27FC236}">
                  <a16:creationId xmlns:a16="http://schemas.microsoft.com/office/drawing/2014/main" id="{6358920F-2E7C-4918-8EBB-0B9923EB9EB3}"/>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grpSp>
        <p:nvGrpSpPr>
          <p:cNvPr id="39" name="Group 38">
            <a:extLst>
              <a:ext uri="{FF2B5EF4-FFF2-40B4-BE49-F238E27FC236}">
                <a16:creationId xmlns:a16="http://schemas.microsoft.com/office/drawing/2014/main" id="{6C8C4781-59D2-45AF-ACC1-CBDF0874DF6A}"/>
              </a:ext>
            </a:extLst>
          </p:cNvPr>
          <p:cNvGrpSpPr/>
          <p:nvPr/>
        </p:nvGrpSpPr>
        <p:grpSpPr>
          <a:xfrm flipH="1">
            <a:off x="6345423" y="2877214"/>
            <a:ext cx="1569131" cy="371681"/>
            <a:chOff x="3733800" y="2193131"/>
            <a:chExt cx="575470" cy="185738"/>
          </a:xfrm>
          <a:solidFill>
            <a:schemeClr val="accent3"/>
          </a:solidFill>
        </p:grpSpPr>
        <p:sp>
          <p:nvSpPr>
            <p:cNvPr id="41" name="Rounded Rectangle 66">
              <a:extLst>
                <a:ext uri="{FF2B5EF4-FFF2-40B4-BE49-F238E27FC236}">
                  <a16:creationId xmlns:a16="http://schemas.microsoft.com/office/drawing/2014/main" id="{D6CFE06A-A3A6-409B-90ED-13F5AC8C7E42}"/>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42" name="Isosceles Triangle 41">
              <a:extLst>
                <a:ext uri="{FF2B5EF4-FFF2-40B4-BE49-F238E27FC236}">
                  <a16:creationId xmlns:a16="http://schemas.microsoft.com/office/drawing/2014/main" id="{5F5D0FDE-B387-4195-AE10-C9F77AAA3FE7}"/>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sp>
        <p:nvSpPr>
          <p:cNvPr id="43" name="Rectangle 42">
            <a:extLst>
              <a:ext uri="{FF2B5EF4-FFF2-40B4-BE49-F238E27FC236}">
                <a16:creationId xmlns:a16="http://schemas.microsoft.com/office/drawing/2014/main" id="{52FC8C62-67BC-4244-AC7C-9F078A77C28E}"/>
              </a:ext>
            </a:extLst>
          </p:cNvPr>
          <p:cNvSpPr/>
          <p:nvPr userDrawn="1"/>
        </p:nvSpPr>
        <p:spPr>
          <a:xfrm>
            <a:off x="6487554" y="3372396"/>
            <a:ext cx="4845788" cy="128388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4" name="Rectangle 43">
            <a:extLst>
              <a:ext uri="{FF2B5EF4-FFF2-40B4-BE49-F238E27FC236}">
                <a16:creationId xmlns:a16="http://schemas.microsoft.com/office/drawing/2014/main" id="{3E877772-9051-4AE7-813E-DA3E92F025F6}"/>
              </a:ext>
            </a:extLst>
          </p:cNvPr>
          <p:cNvSpPr/>
          <p:nvPr userDrawn="1"/>
        </p:nvSpPr>
        <p:spPr>
          <a:xfrm>
            <a:off x="937830" y="2230042"/>
            <a:ext cx="4845788" cy="128388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5" name="Rectangle 44">
            <a:extLst>
              <a:ext uri="{FF2B5EF4-FFF2-40B4-BE49-F238E27FC236}">
                <a16:creationId xmlns:a16="http://schemas.microsoft.com/office/drawing/2014/main" id="{98BB8698-2226-4C1D-9494-FD8491F7FA26}"/>
              </a:ext>
            </a:extLst>
          </p:cNvPr>
          <p:cNvSpPr/>
          <p:nvPr userDrawn="1"/>
        </p:nvSpPr>
        <p:spPr>
          <a:xfrm>
            <a:off x="4110415" y="2235962"/>
            <a:ext cx="1710000" cy="12825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46" name="Rectangle 45">
            <a:extLst>
              <a:ext uri="{FF2B5EF4-FFF2-40B4-BE49-F238E27FC236}">
                <a16:creationId xmlns:a16="http://schemas.microsoft.com/office/drawing/2014/main" id="{54220AF7-AF0A-41C7-AB15-4E5B52234686}"/>
              </a:ext>
            </a:extLst>
          </p:cNvPr>
          <p:cNvSpPr/>
          <p:nvPr userDrawn="1"/>
        </p:nvSpPr>
        <p:spPr>
          <a:xfrm>
            <a:off x="6487553" y="3371421"/>
            <a:ext cx="1710000" cy="12825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11" name="Picture Placeholder 10">
            <a:extLst>
              <a:ext uri="{FF2B5EF4-FFF2-40B4-BE49-F238E27FC236}">
                <a16:creationId xmlns:a16="http://schemas.microsoft.com/office/drawing/2014/main" id="{680C6E31-C8E7-417F-914B-830051F23A7F}"/>
              </a:ext>
            </a:extLst>
          </p:cNvPr>
          <p:cNvSpPr>
            <a:spLocks noGrp="1"/>
          </p:cNvSpPr>
          <p:nvPr>
            <p:ph type="pic" sz="quarter" idx="10"/>
          </p:nvPr>
        </p:nvSpPr>
        <p:spPr>
          <a:xfrm>
            <a:off x="4110567" y="2230438"/>
            <a:ext cx="1710267" cy="1282700"/>
          </a:xfrm>
          <a:solidFill>
            <a:schemeClr val="bg1">
              <a:lumMod val="50000"/>
            </a:schemeClr>
          </a:solidFill>
        </p:spPr>
        <p:txBody>
          <a:bodyPr>
            <a:normAutofit/>
          </a:bodyPr>
          <a:lstStyle>
            <a:lvl1pPr marL="0" indent="0">
              <a:buNone/>
              <a:defRPr sz="1100"/>
            </a:lvl1pPr>
          </a:lstStyle>
          <a:p>
            <a:endParaRPr lang="en-US" dirty="0"/>
          </a:p>
        </p:txBody>
      </p:sp>
      <p:sp>
        <p:nvSpPr>
          <p:cNvPr id="16" name="Picture Placeholder 15">
            <a:extLst>
              <a:ext uri="{FF2B5EF4-FFF2-40B4-BE49-F238E27FC236}">
                <a16:creationId xmlns:a16="http://schemas.microsoft.com/office/drawing/2014/main" id="{4F980F5D-AB44-4DF3-AF34-75D865699C94}"/>
              </a:ext>
            </a:extLst>
          </p:cNvPr>
          <p:cNvSpPr>
            <a:spLocks noGrp="1"/>
          </p:cNvSpPr>
          <p:nvPr>
            <p:ph type="pic" sz="quarter" idx="11"/>
          </p:nvPr>
        </p:nvSpPr>
        <p:spPr>
          <a:xfrm>
            <a:off x="6487584" y="3371850"/>
            <a:ext cx="1710267" cy="1282700"/>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176264738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meline (3 of 3)">
    <p:spTree>
      <p:nvGrpSpPr>
        <p:cNvPr id="1" name=""/>
        <p:cNvGrpSpPr/>
        <p:nvPr/>
      </p:nvGrpSpPr>
      <p:grpSpPr>
        <a:xfrm>
          <a:off x="0" y="0"/>
          <a:ext cx="0" cy="0"/>
          <a:chOff x="0" y="0"/>
          <a:chExt cx="0" cy="0"/>
        </a:xfrm>
      </p:grpSpPr>
      <p:sp>
        <p:nvSpPr>
          <p:cNvPr id="2" name="Title 1"/>
          <p:cNvSpPr>
            <a:spLocks noGrp="1"/>
          </p:cNvSpPr>
          <p:nvPr>
            <p:ph type="title"/>
          </p:nvPr>
        </p:nvSpPr>
        <p:spPr>
          <a:xfrm>
            <a:off x="838200" y="371728"/>
            <a:ext cx="10515600" cy="886732"/>
          </a:xfrm>
          <a:prstGeom prst="rect">
            <a:avLst/>
          </a:prstGeom>
        </p:spPr>
        <p:txBody>
          <a:bodyPr/>
          <a:lstStyle>
            <a:lvl1pPr algn="ctr">
              <a:defRPr b="1"/>
            </a:lvl1pPr>
          </a:lstStyle>
          <a:p>
            <a:r>
              <a:rPr lang="en-US" dirty="0"/>
              <a:t>Click to edit Master title style</a:t>
            </a:r>
            <a:endParaRPr lang="en-MY" dirty="0"/>
          </a:p>
        </p:txBody>
      </p:sp>
      <p:sp>
        <p:nvSpPr>
          <p:cNvPr id="10" name="Subtitle 2"/>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0" name="Oval 19">
            <a:extLst>
              <a:ext uri="{FF2B5EF4-FFF2-40B4-BE49-F238E27FC236}">
                <a16:creationId xmlns:a16="http://schemas.microsoft.com/office/drawing/2014/main" id="{864048EA-F666-412B-8C37-8084E8195880}"/>
              </a:ext>
            </a:extLst>
          </p:cNvPr>
          <p:cNvSpPr/>
          <p:nvPr userDrawn="1"/>
        </p:nvSpPr>
        <p:spPr>
          <a:xfrm>
            <a:off x="6043294" y="1655297"/>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21" name="Oval 20">
            <a:extLst>
              <a:ext uri="{FF2B5EF4-FFF2-40B4-BE49-F238E27FC236}">
                <a16:creationId xmlns:a16="http://schemas.microsoft.com/office/drawing/2014/main" id="{4F80EAAD-963C-41A6-9960-ABEF92AF62F6}"/>
              </a:ext>
            </a:extLst>
          </p:cNvPr>
          <p:cNvSpPr/>
          <p:nvPr userDrawn="1"/>
        </p:nvSpPr>
        <p:spPr>
          <a:xfrm>
            <a:off x="6043294" y="2611959"/>
            <a:ext cx="201420" cy="151065"/>
          </a:xfrm>
          <a:prstGeom prst="ellipse">
            <a:avLst/>
          </a:prstGeom>
          <a:solidFill>
            <a:schemeClr val="bg1"/>
          </a:solidFill>
          <a:ln w="38100">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cxnSp>
        <p:nvCxnSpPr>
          <p:cNvPr id="22" name="Straight Connector 21">
            <a:extLst>
              <a:ext uri="{FF2B5EF4-FFF2-40B4-BE49-F238E27FC236}">
                <a16:creationId xmlns:a16="http://schemas.microsoft.com/office/drawing/2014/main" id="{6E548B81-F9E5-4BAA-9B0A-DB83502A64A0}"/>
              </a:ext>
            </a:extLst>
          </p:cNvPr>
          <p:cNvCxnSpPr>
            <a:stCxn id="20" idx="4"/>
            <a:endCxn id="21" idx="0"/>
          </p:cNvCxnSpPr>
          <p:nvPr userDrawn="1"/>
        </p:nvCxnSpPr>
        <p:spPr>
          <a:xfrm>
            <a:off x="6144003" y="1806361"/>
            <a:ext cx="0" cy="80559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oup 39">
            <a:extLst>
              <a:ext uri="{FF2B5EF4-FFF2-40B4-BE49-F238E27FC236}">
                <a16:creationId xmlns:a16="http://schemas.microsoft.com/office/drawing/2014/main" id="{D3EBF11D-D133-49FE-B1E3-D09BD5F59037}"/>
              </a:ext>
            </a:extLst>
          </p:cNvPr>
          <p:cNvGrpSpPr/>
          <p:nvPr/>
        </p:nvGrpSpPr>
        <p:grpSpPr>
          <a:xfrm>
            <a:off x="4373445" y="1541995"/>
            <a:ext cx="1560169" cy="377669"/>
            <a:chOff x="3733800" y="2193131"/>
            <a:chExt cx="575470" cy="185738"/>
          </a:xfrm>
          <a:solidFill>
            <a:schemeClr val="accent4"/>
          </a:solidFill>
        </p:grpSpPr>
        <p:sp>
          <p:nvSpPr>
            <p:cNvPr id="26" name="Rounded Rectangle 31">
              <a:extLst>
                <a:ext uri="{FF2B5EF4-FFF2-40B4-BE49-F238E27FC236}">
                  <a16:creationId xmlns:a16="http://schemas.microsoft.com/office/drawing/2014/main" id="{04559281-A5CB-45D3-843D-AC1088C92424}"/>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28" name="Isosceles Triangle 27">
              <a:extLst>
                <a:ext uri="{FF2B5EF4-FFF2-40B4-BE49-F238E27FC236}">
                  <a16:creationId xmlns:a16="http://schemas.microsoft.com/office/drawing/2014/main" id="{99ABDE00-3A89-43C2-8DA2-B3D243979FBA}"/>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grpSp>
        <p:nvGrpSpPr>
          <p:cNvPr id="32" name="Group 39">
            <a:extLst>
              <a:ext uri="{FF2B5EF4-FFF2-40B4-BE49-F238E27FC236}">
                <a16:creationId xmlns:a16="http://schemas.microsoft.com/office/drawing/2014/main" id="{6E7D2E9B-3449-4F70-9365-7067F78385C6}"/>
              </a:ext>
            </a:extLst>
          </p:cNvPr>
          <p:cNvGrpSpPr/>
          <p:nvPr/>
        </p:nvGrpSpPr>
        <p:grpSpPr>
          <a:xfrm flipH="1">
            <a:off x="6354393" y="2528658"/>
            <a:ext cx="1569131" cy="371681"/>
            <a:chOff x="3733800" y="2193131"/>
            <a:chExt cx="575470" cy="185738"/>
          </a:xfrm>
          <a:solidFill>
            <a:schemeClr val="accent5"/>
          </a:solidFill>
        </p:grpSpPr>
        <p:sp>
          <p:nvSpPr>
            <p:cNvPr id="35" name="Rounded Rectangle 36">
              <a:extLst>
                <a:ext uri="{FF2B5EF4-FFF2-40B4-BE49-F238E27FC236}">
                  <a16:creationId xmlns:a16="http://schemas.microsoft.com/office/drawing/2014/main" id="{766EE623-FF1E-4CEA-8C4A-89552D242B07}"/>
                </a:ext>
              </a:extLst>
            </p:cNvPr>
            <p:cNvSpPr/>
            <p:nvPr/>
          </p:nvSpPr>
          <p:spPr>
            <a:xfrm>
              <a:off x="3733800" y="2193131"/>
              <a:ext cx="530225" cy="185738"/>
            </a:xfrm>
            <a:prstGeom prst="roundRect">
              <a:avLst>
                <a:gd name="adj" fmla="val 0"/>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sp>
          <p:nvSpPr>
            <p:cNvPr id="38" name="Isosceles Triangle 37">
              <a:extLst>
                <a:ext uri="{FF2B5EF4-FFF2-40B4-BE49-F238E27FC236}">
                  <a16:creationId xmlns:a16="http://schemas.microsoft.com/office/drawing/2014/main" id="{3E38F115-FF90-4CAD-AB24-EB9F1A7EC6FC}"/>
                </a:ext>
              </a:extLst>
            </p:cNvPr>
            <p:cNvSpPr/>
            <p:nvPr/>
          </p:nvSpPr>
          <p:spPr>
            <a:xfrm rot="5400000">
              <a:off x="4238785" y="2263141"/>
              <a:ext cx="95251" cy="45719"/>
            </a:xfrm>
            <a:prstGeom prst="triangl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latin typeface="+mj-lt"/>
              </a:endParaRPr>
            </a:p>
          </p:txBody>
        </p:sp>
      </p:grpSp>
      <p:cxnSp>
        <p:nvCxnSpPr>
          <p:cNvPr id="40" name="Straight Connector 39">
            <a:extLst>
              <a:ext uri="{FF2B5EF4-FFF2-40B4-BE49-F238E27FC236}">
                <a16:creationId xmlns:a16="http://schemas.microsoft.com/office/drawing/2014/main" id="{8A6790F3-C4AC-4DC1-AA16-D6C4A02680BC}"/>
              </a:ext>
            </a:extLst>
          </p:cNvPr>
          <p:cNvCxnSpPr>
            <a:stCxn id="21" idx="4"/>
            <a:endCxn id="51" idx="0"/>
          </p:cNvCxnSpPr>
          <p:nvPr userDrawn="1"/>
        </p:nvCxnSpPr>
        <p:spPr>
          <a:xfrm>
            <a:off x="6144005" y="2763024"/>
            <a:ext cx="9647" cy="225214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EC4550F3-FBFD-4C84-9FA0-C021EF3DF311}"/>
              </a:ext>
            </a:extLst>
          </p:cNvPr>
          <p:cNvSpPr/>
          <p:nvPr userDrawn="1"/>
        </p:nvSpPr>
        <p:spPr>
          <a:xfrm>
            <a:off x="5828087" y="5015171"/>
            <a:ext cx="651127" cy="488345"/>
          </a:xfrm>
          <a:prstGeom prst="ellipse">
            <a:avLst/>
          </a:prstGeom>
          <a:solidFill>
            <a:schemeClr val="bg1"/>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sp>
        <p:nvSpPr>
          <p:cNvPr id="52" name="Oval 51">
            <a:extLst>
              <a:ext uri="{FF2B5EF4-FFF2-40B4-BE49-F238E27FC236}">
                <a16:creationId xmlns:a16="http://schemas.microsoft.com/office/drawing/2014/main" id="{AD533544-80FE-404C-94BE-AD86F3BFE5D4}"/>
              </a:ext>
            </a:extLst>
          </p:cNvPr>
          <p:cNvSpPr/>
          <p:nvPr userDrawn="1"/>
        </p:nvSpPr>
        <p:spPr>
          <a:xfrm>
            <a:off x="5933227" y="5094025"/>
            <a:ext cx="440845" cy="330634"/>
          </a:xfrm>
          <a:prstGeom prst="ellipse">
            <a:avLst/>
          </a:prstGeom>
          <a:solidFill>
            <a:schemeClr val="tx1">
              <a:lumMod val="50000"/>
              <a:lumOff val="50000"/>
            </a:schemeClr>
          </a:solidFill>
          <a:ln w="127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sz="1800"/>
          </a:p>
        </p:txBody>
      </p:sp>
      <p:grpSp>
        <p:nvGrpSpPr>
          <p:cNvPr id="54" name="Group 53">
            <a:extLst>
              <a:ext uri="{FF2B5EF4-FFF2-40B4-BE49-F238E27FC236}">
                <a16:creationId xmlns:a16="http://schemas.microsoft.com/office/drawing/2014/main" id="{55070084-C305-48E6-B6DD-6DC24858C129}"/>
              </a:ext>
            </a:extLst>
          </p:cNvPr>
          <p:cNvGrpSpPr/>
          <p:nvPr userDrawn="1"/>
        </p:nvGrpSpPr>
        <p:grpSpPr>
          <a:xfrm>
            <a:off x="944240" y="2019824"/>
            <a:ext cx="4882587" cy="1288421"/>
            <a:chOff x="944240" y="1321497"/>
            <a:chExt cx="4882586" cy="1717895"/>
          </a:xfrm>
        </p:grpSpPr>
        <p:sp>
          <p:nvSpPr>
            <p:cNvPr id="55" name="Rectangle 54">
              <a:extLst>
                <a:ext uri="{FF2B5EF4-FFF2-40B4-BE49-F238E27FC236}">
                  <a16:creationId xmlns:a16="http://schemas.microsoft.com/office/drawing/2014/main" id="{08D0FAE4-ABC8-4DEB-8566-54E3DECCA044}"/>
                </a:ext>
              </a:extLst>
            </p:cNvPr>
            <p:cNvSpPr/>
            <p:nvPr userDrawn="1"/>
          </p:nvSpPr>
          <p:spPr>
            <a:xfrm>
              <a:off x="944240" y="1321497"/>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6" name="Rectangle 55">
              <a:extLst>
                <a:ext uri="{FF2B5EF4-FFF2-40B4-BE49-F238E27FC236}">
                  <a16:creationId xmlns:a16="http://schemas.microsoft.com/office/drawing/2014/main" id="{B30C37B2-A372-4E9E-8F94-8FCF5BFE87A5}"/>
                </a:ext>
              </a:extLst>
            </p:cNvPr>
            <p:cNvSpPr/>
            <p:nvPr/>
          </p:nvSpPr>
          <p:spPr>
            <a:xfrm>
              <a:off x="4116826" y="1329392"/>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grpSp>
        <p:nvGrpSpPr>
          <p:cNvPr id="58" name="Group 57">
            <a:extLst>
              <a:ext uri="{FF2B5EF4-FFF2-40B4-BE49-F238E27FC236}">
                <a16:creationId xmlns:a16="http://schemas.microsoft.com/office/drawing/2014/main" id="{2EDB261C-1EA1-4EF8-AEC2-F19987508B73}"/>
              </a:ext>
            </a:extLst>
          </p:cNvPr>
          <p:cNvGrpSpPr/>
          <p:nvPr userDrawn="1"/>
        </p:nvGrpSpPr>
        <p:grpSpPr>
          <a:xfrm>
            <a:off x="6496525" y="3023840"/>
            <a:ext cx="4845788" cy="1289690"/>
            <a:chOff x="6496524" y="2660186"/>
            <a:chExt cx="4845788" cy="1719587"/>
          </a:xfrm>
        </p:grpSpPr>
        <p:sp>
          <p:nvSpPr>
            <p:cNvPr id="59" name="Rectangle 58">
              <a:extLst>
                <a:ext uri="{FF2B5EF4-FFF2-40B4-BE49-F238E27FC236}">
                  <a16:creationId xmlns:a16="http://schemas.microsoft.com/office/drawing/2014/main" id="{9A5E889B-CF86-4F3D-8D2B-1DAD7E3992B0}"/>
                </a:ext>
              </a:extLst>
            </p:cNvPr>
            <p:cNvSpPr/>
            <p:nvPr/>
          </p:nvSpPr>
          <p:spPr>
            <a:xfrm>
              <a:off x="6496524" y="2660186"/>
              <a:ext cx="4845788" cy="171184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0" name="Rectangle 59">
              <a:extLst>
                <a:ext uri="{FF2B5EF4-FFF2-40B4-BE49-F238E27FC236}">
                  <a16:creationId xmlns:a16="http://schemas.microsoft.com/office/drawing/2014/main" id="{9EFB1A7D-E3F2-4B05-8BDA-0521DE99D75F}"/>
                </a:ext>
              </a:extLst>
            </p:cNvPr>
            <p:cNvSpPr/>
            <p:nvPr/>
          </p:nvSpPr>
          <p:spPr>
            <a:xfrm>
              <a:off x="6496524" y="2669773"/>
              <a:ext cx="1710000" cy="1710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grpSp>
      <p:sp>
        <p:nvSpPr>
          <p:cNvPr id="4" name="Picture Placeholder 3">
            <a:extLst>
              <a:ext uri="{FF2B5EF4-FFF2-40B4-BE49-F238E27FC236}">
                <a16:creationId xmlns:a16="http://schemas.microsoft.com/office/drawing/2014/main" id="{2B40FB83-E1D1-497F-BC9E-155752E6DFDD}"/>
              </a:ext>
            </a:extLst>
          </p:cNvPr>
          <p:cNvSpPr>
            <a:spLocks noGrp="1"/>
          </p:cNvSpPr>
          <p:nvPr>
            <p:ph type="pic" sz="quarter" idx="10"/>
          </p:nvPr>
        </p:nvSpPr>
        <p:spPr>
          <a:xfrm>
            <a:off x="4116827" y="2019824"/>
            <a:ext cx="1701891" cy="1293291"/>
          </a:xfrm>
          <a:solidFill>
            <a:schemeClr val="bg1">
              <a:lumMod val="50000"/>
            </a:schemeClr>
          </a:solidFill>
        </p:spPr>
        <p:txBody>
          <a:bodyPr>
            <a:normAutofit/>
          </a:bodyPr>
          <a:lstStyle>
            <a:lvl1pPr marL="0" indent="0">
              <a:buNone/>
              <a:defRPr sz="1100"/>
            </a:lvl1pPr>
          </a:lstStyle>
          <a:p>
            <a:endParaRPr lang="en-US" dirty="0"/>
          </a:p>
        </p:txBody>
      </p:sp>
      <p:sp>
        <p:nvSpPr>
          <p:cNvPr id="6" name="Picture Placeholder 5">
            <a:extLst>
              <a:ext uri="{FF2B5EF4-FFF2-40B4-BE49-F238E27FC236}">
                <a16:creationId xmlns:a16="http://schemas.microsoft.com/office/drawing/2014/main" id="{EA6D0A04-5DBE-4A2A-8AAF-4D330EF9F166}"/>
              </a:ext>
            </a:extLst>
          </p:cNvPr>
          <p:cNvSpPr>
            <a:spLocks noGrp="1"/>
          </p:cNvSpPr>
          <p:nvPr>
            <p:ph type="pic" sz="quarter" idx="11"/>
          </p:nvPr>
        </p:nvSpPr>
        <p:spPr>
          <a:xfrm>
            <a:off x="6496050" y="3030539"/>
            <a:ext cx="1710473" cy="1277937"/>
          </a:xfrm>
          <a:solidFill>
            <a:schemeClr val="bg1">
              <a:lumMod val="50000"/>
            </a:schemeClr>
          </a:solidFill>
        </p:spPr>
        <p:txBody>
          <a:bodyPr>
            <a:normAutofit/>
          </a:bodyPr>
          <a:lstStyle>
            <a:lvl1pPr marL="0" indent="0">
              <a:buNone/>
              <a:defRPr sz="1100"/>
            </a:lvl1pPr>
          </a:lstStyle>
          <a:p>
            <a:endParaRPr lang="en-US" dirty="0"/>
          </a:p>
        </p:txBody>
      </p:sp>
    </p:spTree>
    <p:extLst>
      <p:ext uri="{BB962C8B-B14F-4D97-AF65-F5344CB8AC3E}">
        <p14:creationId xmlns:p14="http://schemas.microsoft.com/office/powerpoint/2010/main" val="400123540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5" name="Rectangle 4"/>
          <p:cNvSpPr/>
          <p:nvPr/>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3" name="Rectangle 2"/>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sz="1350"/>
          </a:p>
        </p:txBody>
      </p:sp>
      <p:sp>
        <p:nvSpPr>
          <p:cNvPr id="4" name="TextBox 3">
            <a:extLst>
              <a:ext uri="{FF2B5EF4-FFF2-40B4-BE49-F238E27FC236}">
                <a16:creationId xmlns:a16="http://schemas.microsoft.com/office/drawing/2014/main" id="{BD006EAB-66AC-4A79-9CA7-D2B4150E9FB0}"/>
              </a:ext>
            </a:extLst>
          </p:cNvPr>
          <p:cNvSpPr txBox="1"/>
          <p:nvPr userDrawn="1"/>
        </p:nvSpPr>
        <p:spPr>
          <a:xfrm>
            <a:off x="11127949" y="6270704"/>
            <a:ext cx="472779" cy="253916"/>
          </a:xfrm>
          <a:prstGeom prst="rect">
            <a:avLst/>
          </a:prstGeom>
          <a:noFill/>
        </p:spPr>
        <p:txBody>
          <a:bodyPr wrap="square" rtlCol="0">
            <a:spAutoFit/>
          </a:bodyPr>
          <a:lstStyle/>
          <a:p>
            <a:fld id="{260E2A6B-A809-4840-BF14-8648BC0BDF87}" type="slidenum">
              <a:rPr lang="id-ID" sz="1000" b="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pPr/>
              <a:t>‹#›</a:t>
            </a:fld>
            <a:endParaRPr lang="en-MY" sz="1050" b="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A76F71E2-1943-467A-A340-11740D49342D}"/>
              </a:ext>
            </a:extLst>
          </p:cNvPr>
          <p:cNvCxnSpPr>
            <a:cxnSpLocks/>
            <a:endCxn id="4" idx="1"/>
          </p:cNvCxnSpPr>
          <p:nvPr userDrawn="1"/>
        </p:nvCxnSpPr>
        <p:spPr>
          <a:xfrm flipV="1">
            <a:off x="3088901" y="6397662"/>
            <a:ext cx="8039048" cy="7188"/>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C599F5A2-FA5C-491F-AF75-AB76967066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2928" y="5907025"/>
            <a:ext cx="2685973" cy="795720"/>
          </a:xfrm>
          <a:prstGeom prst="rect">
            <a:avLst/>
          </a:prstGeom>
        </p:spPr>
      </p:pic>
    </p:spTree>
    <p:extLst>
      <p:ext uri="{BB962C8B-B14F-4D97-AF65-F5344CB8AC3E}">
        <p14:creationId xmlns:p14="http://schemas.microsoft.com/office/powerpoint/2010/main" val="145548963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email">
            <a:extLst>
              <a:ext uri="{28A0092B-C50C-407E-A947-70E740481C1C}">
                <a14:useLocalDpi xmlns:a14="http://schemas.microsoft.com/office/drawing/2010/main"/>
              </a:ext>
            </a:extLst>
          </a:blip>
          <a:stretch>
            <a:fillRect/>
          </a:stretch>
        </p:blipFill>
        <p:spPr>
          <a:xfrm>
            <a:off x="0" y="1"/>
            <a:ext cx="12191998" cy="6857999"/>
          </a:xfrm>
          <a:prstGeom prst="rect">
            <a:avLst/>
          </a:prstGeom>
        </p:spPr>
      </p:pic>
      <p:sp>
        <p:nvSpPr>
          <p:cNvPr id="2" name="Holder 2"/>
          <p:cNvSpPr>
            <a:spLocks noGrp="1"/>
          </p:cNvSpPr>
          <p:nvPr>
            <p:ph type="ctrTitle"/>
          </p:nvPr>
        </p:nvSpPr>
        <p:spPr>
          <a:xfrm>
            <a:off x="3169689" y="3129513"/>
            <a:ext cx="5038513" cy="545253"/>
          </a:xfrm>
          <a:prstGeom prst="rect">
            <a:avLst/>
          </a:prstGeom>
        </p:spPr>
        <p:txBody>
          <a:bodyPr wrap="square" lIns="0" tIns="0" rIns="0" bIns="0">
            <a:spAutoFit/>
          </a:bodyPr>
          <a:lstStyle>
            <a:lvl1pPr>
              <a:defRPr sz="4667" b="1" i="0">
                <a:solidFill>
                  <a:srgbClr val="FF8F45"/>
                </a:solidFill>
                <a:latin typeface="Trebuchet MS"/>
                <a:cs typeface="Trebuchet MS"/>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133" b="1" i="0">
                <a:solidFill>
                  <a:schemeClr val="tx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667" b="1" i="0">
                <a:solidFill>
                  <a:srgbClr val="FF8F45"/>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2133" b="1" i="0">
                <a:solidFill>
                  <a:schemeClr val="tx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667" b="1" i="0">
                <a:solidFill>
                  <a:srgbClr val="FF8F45"/>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667" b="1" i="0">
                <a:solidFill>
                  <a:srgbClr val="FF8F45"/>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228"/>
        <p:cNvGrpSpPr/>
        <p:nvPr/>
      </p:nvGrpSpPr>
      <p:grpSpPr>
        <a:xfrm>
          <a:off x="0" y="0"/>
          <a:ext cx="0" cy="0"/>
          <a:chOff x="0" y="0"/>
          <a:chExt cx="0" cy="0"/>
        </a:xfrm>
      </p:grpSpPr>
      <p:grpSp>
        <p:nvGrpSpPr>
          <p:cNvPr id="229" name="Google Shape;229;p23"/>
          <p:cNvGrpSpPr/>
          <p:nvPr/>
        </p:nvGrpSpPr>
        <p:grpSpPr>
          <a:xfrm>
            <a:off x="7191542" y="1"/>
            <a:ext cx="5000459" cy="1425992"/>
            <a:chOff x="7191542" y="1"/>
            <a:chExt cx="5000459" cy="1425992"/>
          </a:xfrm>
        </p:grpSpPr>
        <p:pic>
          <p:nvPicPr>
            <p:cNvPr id="230" name="Google Shape;230;p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 name="Google Shape;231;p23"/>
            <p:cNvGrpSpPr/>
            <p:nvPr/>
          </p:nvGrpSpPr>
          <p:grpSpPr>
            <a:xfrm>
              <a:off x="7191542" y="1"/>
              <a:ext cx="5000459" cy="1425992"/>
              <a:chOff x="7186272" y="0"/>
              <a:chExt cx="5005729" cy="1427495"/>
            </a:xfrm>
          </p:grpSpPr>
          <p:sp>
            <p:nvSpPr>
              <p:cNvPr id="232" name="Google Shape;232;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33;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4" name="Google Shape;234;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 name="Google Shape;235;p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39"/>
        <p:cNvGrpSpPr/>
        <p:nvPr/>
      </p:nvGrpSpPr>
      <p:grpSpPr>
        <a:xfrm>
          <a:off x="0" y="0"/>
          <a:ext cx="0" cy="0"/>
          <a:chOff x="0" y="0"/>
          <a:chExt cx="0" cy="0"/>
        </a:xfrm>
      </p:grpSpPr>
      <p:sp>
        <p:nvSpPr>
          <p:cNvPr id="240" name="Google Shape;240;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 name="Google Shape;241;p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 name="Google Shape;242;p24"/>
          <p:cNvGrpSpPr/>
          <p:nvPr/>
        </p:nvGrpSpPr>
        <p:grpSpPr>
          <a:xfrm>
            <a:off x="7191542" y="1"/>
            <a:ext cx="5000459" cy="1425992"/>
            <a:chOff x="7191542" y="1"/>
            <a:chExt cx="5000459" cy="1425992"/>
          </a:xfrm>
        </p:grpSpPr>
        <p:pic>
          <p:nvPicPr>
            <p:cNvPr id="243" name="Google Shape;243;p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 name="Google Shape;244;p24"/>
            <p:cNvGrpSpPr/>
            <p:nvPr/>
          </p:nvGrpSpPr>
          <p:grpSpPr>
            <a:xfrm>
              <a:off x="7191542" y="1"/>
              <a:ext cx="5000459" cy="1425992"/>
              <a:chOff x="7186272" y="0"/>
              <a:chExt cx="5005729" cy="1427495"/>
            </a:xfrm>
          </p:grpSpPr>
          <p:sp>
            <p:nvSpPr>
              <p:cNvPr id="245" name="Google Shape;245;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 name="Google Shape;247;p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 name="Google Shape;248;p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9" name="Google Shape;249;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 name="Google Shape;250;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51"/>
        <p:cNvGrpSpPr/>
        <p:nvPr/>
      </p:nvGrpSpPr>
      <p:grpSpPr>
        <a:xfrm>
          <a:off x="0" y="0"/>
          <a:ext cx="0" cy="0"/>
          <a:chOff x="0" y="0"/>
          <a:chExt cx="0" cy="0"/>
        </a:xfrm>
      </p:grpSpPr>
      <p:grpSp>
        <p:nvGrpSpPr>
          <p:cNvPr id="252" name="Google Shape;252;p25"/>
          <p:cNvGrpSpPr/>
          <p:nvPr/>
        </p:nvGrpSpPr>
        <p:grpSpPr>
          <a:xfrm>
            <a:off x="7191542" y="1"/>
            <a:ext cx="5000459" cy="1425992"/>
            <a:chOff x="7191542" y="1"/>
            <a:chExt cx="5000459" cy="1425992"/>
          </a:xfrm>
        </p:grpSpPr>
        <p:pic>
          <p:nvPicPr>
            <p:cNvPr id="253" name="Google Shape;253;p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 name="Google Shape;254;p25"/>
            <p:cNvGrpSpPr/>
            <p:nvPr/>
          </p:nvGrpSpPr>
          <p:grpSpPr>
            <a:xfrm>
              <a:off x="7191542" y="1"/>
              <a:ext cx="5000459" cy="1425992"/>
              <a:chOff x="7186272" y="0"/>
              <a:chExt cx="5005729" cy="1427495"/>
            </a:xfrm>
          </p:grpSpPr>
          <p:sp>
            <p:nvSpPr>
              <p:cNvPr id="255" name="Google Shape;255;p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57" name="Google Shape;257;p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9" name="Google Shape;259;p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 name="Google Shape;261;p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 name="Google Shape;262;p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 name="Google Shape;263;p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 name="Google Shape;264;p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5"/>
        <p:cNvGrpSpPr/>
        <p:nvPr/>
      </p:nvGrpSpPr>
      <p:grpSpPr>
        <a:xfrm>
          <a:off x="0" y="0"/>
          <a:ext cx="0" cy="0"/>
          <a:chOff x="0" y="0"/>
          <a:chExt cx="0" cy="0"/>
        </a:xfrm>
      </p:grpSpPr>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1" name="Google Shape;271;p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3" name="Google Shape;273;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 name="Google Shape;274;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5"/>
        <p:cNvGrpSpPr/>
        <p:nvPr/>
      </p:nvGrpSpPr>
      <p:grpSpPr>
        <a:xfrm>
          <a:off x="0" y="0"/>
          <a:ext cx="0" cy="0"/>
          <a:chOff x="0" y="0"/>
          <a:chExt cx="0" cy="0"/>
        </a:xfrm>
      </p:grpSpPr>
      <p:grpSp>
        <p:nvGrpSpPr>
          <p:cNvPr id="276" name="Google Shape;276;p27"/>
          <p:cNvGrpSpPr/>
          <p:nvPr/>
        </p:nvGrpSpPr>
        <p:grpSpPr>
          <a:xfrm>
            <a:off x="0" y="0"/>
            <a:ext cx="12192000" cy="2148830"/>
            <a:chOff x="0" y="0"/>
            <a:chExt cx="12192000" cy="2148830"/>
          </a:xfrm>
        </p:grpSpPr>
        <p:sp>
          <p:nvSpPr>
            <p:cNvPr id="277" name="Google Shape;277;p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78;p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9" name="Google Shape;279;p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 name="Google Shape;281;p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2" name="Google Shape;282;p2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3" name="Google Shape;283;p2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4"/>
        <p:cNvGrpSpPr/>
        <p:nvPr/>
      </p:nvGrpSpPr>
      <p:grpSpPr>
        <a:xfrm>
          <a:off x="0" y="0"/>
          <a:ext cx="0" cy="0"/>
          <a:chOff x="0" y="0"/>
          <a:chExt cx="0" cy="0"/>
        </a:xfrm>
      </p:grpSpPr>
      <p:sp>
        <p:nvSpPr>
          <p:cNvPr id="285" name="Google Shape;285;p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 name="Google Shape;286;p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 name="Google Shape;287;p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8" name="Google Shape;288;p28"/>
          <p:cNvGrpSpPr/>
          <p:nvPr/>
        </p:nvGrpSpPr>
        <p:grpSpPr>
          <a:xfrm>
            <a:off x="7191542" y="1"/>
            <a:ext cx="5000459" cy="1425992"/>
            <a:chOff x="7191542" y="1"/>
            <a:chExt cx="5000459" cy="1425992"/>
          </a:xfrm>
        </p:grpSpPr>
        <p:pic>
          <p:nvPicPr>
            <p:cNvPr id="289" name="Google Shape;289;p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0" name="Google Shape;290;p28"/>
            <p:cNvGrpSpPr/>
            <p:nvPr/>
          </p:nvGrpSpPr>
          <p:grpSpPr>
            <a:xfrm>
              <a:off x="7191542" y="1"/>
              <a:ext cx="5000459" cy="1425992"/>
              <a:chOff x="7186272" y="0"/>
              <a:chExt cx="5005729" cy="1427495"/>
            </a:xfrm>
          </p:grpSpPr>
          <p:sp>
            <p:nvSpPr>
              <p:cNvPr id="291" name="Google Shape;291;p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292;p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3"/>
        <p:cNvGrpSpPr/>
        <p:nvPr/>
      </p:nvGrpSpPr>
      <p:grpSpPr>
        <a:xfrm>
          <a:off x="0" y="0"/>
          <a:ext cx="0" cy="0"/>
          <a:chOff x="0" y="0"/>
          <a:chExt cx="0" cy="0"/>
        </a:xfrm>
      </p:grpSpPr>
      <p:sp>
        <p:nvSpPr>
          <p:cNvPr id="294" name="Google Shape;294;p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5" name="Google Shape;295;p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 name="Google Shape;297;p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 name="Google Shape;298;p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 name="Google Shape;299;p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0" name="Google Shape;300;p29"/>
          <p:cNvGrpSpPr/>
          <p:nvPr/>
        </p:nvGrpSpPr>
        <p:grpSpPr>
          <a:xfrm>
            <a:off x="7191542" y="1"/>
            <a:ext cx="5000459" cy="1425992"/>
            <a:chOff x="7191542" y="1"/>
            <a:chExt cx="5000459" cy="1425992"/>
          </a:xfrm>
        </p:grpSpPr>
        <p:pic>
          <p:nvPicPr>
            <p:cNvPr id="301" name="Google Shape;301;p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 name="Google Shape;302;p29"/>
            <p:cNvGrpSpPr/>
            <p:nvPr/>
          </p:nvGrpSpPr>
          <p:grpSpPr>
            <a:xfrm>
              <a:off x="7191542" y="1"/>
              <a:ext cx="5000459" cy="1425992"/>
              <a:chOff x="7186272" y="0"/>
              <a:chExt cx="5005729" cy="1427495"/>
            </a:xfrm>
          </p:grpSpPr>
          <p:sp>
            <p:nvSpPr>
              <p:cNvPr id="303" name="Google Shape;303;p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04;p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5" name="Google Shape;305;p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06"/>
        <p:cNvGrpSpPr/>
        <p:nvPr/>
      </p:nvGrpSpPr>
      <p:grpSpPr>
        <a:xfrm>
          <a:off x="0" y="0"/>
          <a:ext cx="0" cy="0"/>
          <a:chOff x="0" y="0"/>
          <a:chExt cx="0" cy="0"/>
        </a:xfrm>
      </p:grpSpPr>
      <p:sp>
        <p:nvSpPr>
          <p:cNvPr id="307" name="Google Shape;307;p3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 name="Google Shape;308;p3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 name="Google Shape;309;p3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0" name="Google Shape;310;p30"/>
          <p:cNvSpPr>
            <a:spLocks noGrp="1"/>
          </p:cNvSpPr>
          <p:nvPr>
            <p:ph type="pic" idx="2"/>
          </p:nvPr>
        </p:nvSpPr>
        <p:spPr>
          <a:xfrm>
            <a:off x="7118684" y="233915"/>
            <a:ext cx="5073316" cy="5943600"/>
          </a:xfrm>
          <a:prstGeom prst="rect">
            <a:avLst/>
          </a:prstGeom>
          <a:noFill/>
          <a:ln>
            <a:noFill/>
          </a:ln>
        </p:spPr>
      </p:sp>
      <p:grpSp>
        <p:nvGrpSpPr>
          <p:cNvPr id="311" name="Google Shape;311;p30"/>
          <p:cNvGrpSpPr/>
          <p:nvPr/>
        </p:nvGrpSpPr>
        <p:grpSpPr>
          <a:xfrm>
            <a:off x="0" y="5020348"/>
            <a:ext cx="12192000" cy="1837653"/>
            <a:chOff x="0" y="5020348"/>
            <a:chExt cx="12192000" cy="1837653"/>
          </a:xfrm>
        </p:grpSpPr>
        <p:sp>
          <p:nvSpPr>
            <p:cNvPr id="312" name="Google Shape;312;p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 name="Google Shape;313;p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 name="Google Shape;314;p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15"/>
        <p:cNvGrpSpPr/>
        <p:nvPr/>
      </p:nvGrpSpPr>
      <p:grpSpPr>
        <a:xfrm>
          <a:off x="0" y="0"/>
          <a:ext cx="0" cy="0"/>
          <a:chOff x="0" y="0"/>
          <a:chExt cx="0" cy="0"/>
        </a:xfrm>
      </p:grpSpPr>
      <p:grpSp>
        <p:nvGrpSpPr>
          <p:cNvPr id="316" name="Google Shape;316;p31"/>
          <p:cNvGrpSpPr/>
          <p:nvPr/>
        </p:nvGrpSpPr>
        <p:grpSpPr>
          <a:xfrm>
            <a:off x="0" y="5020347"/>
            <a:ext cx="12192000" cy="1837653"/>
            <a:chOff x="0" y="5020347"/>
            <a:chExt cx="12192000" cy="1837653"/>
          </a:xfrm>
        </p:grpSpPr>
        <p:sp>
          <p:nvSpPr>
            <p:cNvPr id="317" name="Google Shape;317;p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 name="Google Shape;318;p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 name="Google Shape;319;p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 name="Google Shape;320;p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1" name="Google Shape;321;p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23"/>
        <p:cNvGrpSpPr/>
        <p:nvPr/>
      </p:nvGrpSpPr>
      <p:grpSpPr>
        <a:xfrm>
          <a:off x="0" y="0"/>
          <a:ext cx="0" cy="0"/>
          <a:chOff x="0" y="0"/>
          <a:chExt cx="0" cy="0"/>
        </a:xfrm>
      </p:grpSpPr>
      <p:sp>
        <p:nvSpPr>
          <p:cNvPr id="324" name="Google Shape;324;p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5" name="Google Shape;325;p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 name="Google Shape;326;p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 name="Google Shape;327;p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 name="Google Shape;328;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0" name="Google Shape;330;p32"/>
          <p:cNvGrpSpPr/>
          <p:nvPr/>
        </p:nvGrpSpPr>
        <p:grpSpPr>
          <a:xfrm>
            <a:off x="7191542" y="1"/>
            <a:ext cx="5000459" cy="1425992"/>
            <a:chOff x="7191542" y="1"/>
            <a:chExt cx="5000459" cy="1425992"/>
          </a:xfrm>
        </p:grpSpPr>
        <p:pic>
          <p:nvPicPr>
            <p:cNvPr id="331" name="Google Shape;331;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 name="Google Shape;332;p32"/>
            <p:cNvGrpSpPr/>
            <p:nvPr/>
          </p:nvGrpSpPr>
          <p:grpSpPr>
            <a:xfrm>
              <a:off x="7191542" y="1"/>
              <a:ext cx="5000459" cy="1425992"/>
              <a:chOff x="7186272" y="0"/>
              <a:chExt cx="5005729" cy="1427495"/>
            </a:xfrm>
          </p:grpSpPr>
          <p:sp>
            <p:nvSpPr>
              <p:cNvPr id="333" name="Google Shape;333;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5" name="Google Shape;335;p3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36"/>
        <p:cNvGrpSpPr/>
        <p:nvPr/>
      </p:nvGrpSpPr>
      <p:grpSpPr>
        <a:xfrm>
          <a:off x="0" y="0"/>
          <a:ext cx="0" cy="0"/>
          <a:chOff x="0" y="0"/>
          <a:chExt cx="0" cy="0"/>
        </a:xfrm>
      </p:grpSpPr>
      <p:sp>
        <p:nvSpPr>
          <p:cNvPr id="337" name="Google Shape;337;p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 name="Google Shape;338;p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 name="Google Shape;339;p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 name="Google Shape;340;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 name="Google Shape;341;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3" name="Google Shape;343;p33"/>
          <p:cNvGrpSpPr/>
          <p:nvPr/>
        </p:nvGrpSpPr>
        <p:grpSpPr>
          <a:xfrm>
            <a:off x="7191542" y="1"/>
            <a:ext cx="5000459" cy="1425992"/>
            <a:chOff x="7191542" y="1"/>
            <a:chExt cx="5000459" cy="1425992"/>
          </a:xfrm>
        </p:grpSpPr>
        <p:pic>
          <p:nvPicPr>
            <p:cNvPr id="344" name="Google Shape;344;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 name="Google Shape;345;p33"/>
            <p:cNvGrpSpPr/>
            <p:nvPr/>
          </p:nvGrpSpPr>
          <p:grpSpPr>
            <a:xfrm>
              <a:off x="7191542" y="1"/>
              <a:ext cx="5000459" cy="1425992"/>
              <a:chOff x="7186272" y="0"/>
              <a:chExt cx="5005729" cy="1427495"/>
            </a:xfrm>
          </p:grpSpPr>
          <p:sp>
            <p:nvSpPr>
              <p:cNvPr id="346" name="Google Shape;346;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47;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8" name="Google Shape;348;p3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349"/>
        <p:cNvGrpSpPr/>
        <p:nvPr/>
      </p:nvGrpSpPr>
      <p:grpSpPr>
        <a:xfrm>
          <a:off x="0" y="0"/>
          <a:ext cx="0" cy="0"/>
          <a:chOff x="0" y="0"/>
          <a:chExt cx="0" cy="0"/>
        </a:xfrm>
      </p:grpSpPr>
      <p:grpSp>
        <p:nvGrpSpPr>
          <p:cNvPr id="350" name="Google Shape;350;p34"/>
          <p:cNvGrpSpPr/>
          <p:nvPr/>
        </p:nvGrpSpPr>
        <p:grpSpPr>
          <a:xfrm>
            <a:off x="7191542" y="1"/>
            <a:ext cx="5000459" cy="1425992"/>
            <a:chOff x="7191542" y="1"/>
            <a:chExt cx="5000459" cy="1425992"/>
          </a:xfrm>
        </p:grpSpPr>
        <p:pic>
          <p:nvPicPr>
            <p:cNvPr id="351" name="Google Shape;351;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34"/>
            <p:cNvGrpSpPr/>
            <p:nvPr/>
          </p:nvGrpSpPr>
          <p:grpSpPr>
            <a:xfrm>
              <a:off x="7191542" y="1"/>
              <a:ext cx="5000459" cy="1425992"/>
              <a:chOff x="7186272" y="0"/>
              <a:chExt cx="5005729" cy="1427495"/>
            </a:xfrm>
          </p:grpSpPr>
          <p:sp>
            <p:nvSpPr>
              <p:cNvPr id="353" name="Google Shape;353;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5" name="Google Shape;355;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 name="Google Shape;356;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 name="Google Shape;357;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 name="Google Shape;358;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 name="Google Shape;359;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60"/>
        <p:cNvGrpSpPr/>
        <p:nvPr/>
      </p:nvGrpSpPr>
      <p:grpSpPr>
        <a:xfrm>
          <a:off x="0" y="0"/>
          <a:ext cx="0" cy="0"/>
          <a:chOff x="0" y="0"/>
          <a:chExt cx="0" cy="0"/>
        </a:xfrm>
      </p:grpSpPr>
      <p:sp>
        <p:nvSpPr>
          <p:cNvPr id="361" name="Google Shape;36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3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3" name="Google Shape;363;p35"/>
          <p:cNvGrpSpPr/>
          <p:nvPr/>
        </p:nvGrpSpPr>
        <p:grpSpPr>
          <a:xfrm>
            <a:off x="7191542" y="1"/>
            <a:ext cx="5000459" cy="1425992"/>
            <a:chOff x="7191542" y="1"/>
            <a:chExt cx="5000459" cy="1425992"/>
          </a:xfrm>
        </p:grpSpPr>
        <p:pic>
          <p:nvPicPr>
            <p:cNvPr id="364" name="Google Shape;364;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 name="Google Shape;365;p35"/>
            <p:cNvGrpSpPr/>
            <p:nvPr/>
          </p:nvGrpSpPr>
          <p:grpSpPr>
            <a:xfrm>
              <a:off x="7191542" y="1"/>
              <a:ext cx="5000459" cy="1425992"/>
              <a:chOff x="7186272" y="0"/>
              <a:chExt cx="5005729" cy="1427495"/>
            </a:xfrm>
          </p:grpSpPr>
          <p:sp>
            <p:nvSpPr>
              <p:cNvPr id="366" name="Google Shape;366;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67;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 name="Google Shape;368;p3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 name="Google Shape;369;p3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 name="Google Shape;370;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 name="Google Shape;371;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72"/>
        <p:cNvGrpSpPr/>
        <p:nvPr/>
      </p:nvGrpSpPr>
      <p:grpSpPr>
        <a:xfrm>
          <a:off x="0" y="0"/>
          <a:ext cx="0" cy="0"/>
          <a:chOff x="0" y="0"/>
          <a:chExt cx="0" cy="0"/>
        </a:xfrm>
      </p:grpSpPr>
      <p:grpSp>
        <p:nvGrpSpPr>
          <p:cNvPr id="373" name="Google Shape;373;p36"/>
          <p:cNvGrpSpPr/>
          <p:nvPr/>
        </p:nvGrpSpPr>
        <p:grpSpPr>
          <a:xfrm>
            <a:off x="7191542" y="1"/>
            <a:ext cx="5000459" cy="1425992"/>
            <a:chOff x="7191542" y="1"/>
            <a:chExt cx="5000459" cy="1425992"/>
          </a:xfrm>
        </p:grpSpPr>
        <p:pic>
          <p:nvPicPr>
            <p:cNvPr id="374" name="Google Shape;374;p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 name="Google Shape;375;p36"/>
            <p:cNvGrpSpPr/>
            <p:nvPr/>
          </p:nvGrpSpPr>
          <p:grpSpPr>
            <a:xfrm>
              <a:off x="7191542" y="1"/>
              <a:ext cx="5000459" cy="1425992"/>
              <a:chOff x="7186272" y="0"/>
              <a:chExt cx="5005729" cy="1427495"/>
            </a:xfrm>
          </p:grpSpPr>
          <p:sp>
            <p:nvSpPr>
              <p:cNvPr id="376" name="Google Shape;376;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8" name="Google Shape;378;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 name="Google Shape;379;p3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0" name="Google Shape;380;p3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2" name="Google Shape;382;p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 name="Google Shape;383;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4" name="Google Shape;384;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 name="Google Shape;385;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6"/>
        <p:cNvGrpSpPr/>
        <p:nvPr/>
      </p:nvGrpSpPr>
      <p:grpSpPr>
        <a:xfrm>
          <a:off x="0" y="0"/>
          <a:ext cx="0" cy="0"/>
          <a:chOff x="0" y="0"/>
          <a:chExt cx="0" cy="0"/>
        </a:xfrm>
      </p:grpSpPr>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 name="Google Shape;393;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6"/>
        <p:cNvGrpSpPr/>
        <p:nvPr/>
      </p:nvGrpSpPr>
      <p:grpSpPr>
        <a:xfrm>
          <a:off x="0" y="0"/>
          <a:ext cx="0" cy="0"/>
          <a:chOff x="0" y="0"/>
          <a:chExt cx="0" cy="0"/>
        </a:xfrm>
      </p:grpSpPr>
      <p:grpSp>
        <p:nvGrpSpPr>
          <p:cNvPr id="397" name="Google Shape;397;p38"/>
          <p:cNvGrpSpPr/>
          <p:nvPr/>
        </p:nvGrpSpPr>
        <p:grpSpPr>
          <a:xfrm>
            <a:off x="0" y="0"/>
            <a:ext cx="12192000" cy="2148830"/>
            <a:chOff x="0" y="0"/>
            <a:chExt cx="12192000" cy="2148830"/>
          </a:xfrm>
        </p:grpSpPr>
        <p:sp>
          <p:nvSpPr>
            <p:cNvPr id="398" name="Google Shape;398;p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00" name="Google Shape;400;p3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3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 name="Google Shape;402;p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 name="Google Shape;403;p3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4" name="Google Shape;404;p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05"/>
        <p:cNvGrpSpPr/>
        <p:nvPr/>
      </p:nvGrpSpPr>
      <p:grpSpPr>
        <a:xfrm>
          <a:off x="0" y="0"/>
          <a:ext cx="0" cy="0"/>
          <a:chOff x="0" y="0"/>
          <a:chExt cx="0" cy="0"/>
        </a:xfrm>
      </p:grpSpPr>
      <p:sp>
        <p:nvSpPr>
          <p:cNvPr id="406" name="Google Shape;406;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7" name="Google Shape;407;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 name="Google Shape;408;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09" name="Google Shape;409;p39"/>
          <p:cNvGrpSpPr/>
          <p:nvPr/>
        </p:nvGrpSpPr>
        <p:grpSpPr>
          <a:xfrm>
            <a:off x="7191542" y="1"/>
            <a:ext cx="5000459" cy="1425992"/>
            <a:chOff x="7191542" y="1"/>
            <a:chExt cx="5000459" cy="1425992"/>
          </a:xfrm>
        </p:grpSpPr>
        <p:pic>
          <p:nvPicPr>
            <p:cNvPr id="410" name="Google Shape;410;p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 name="Google Shape;411;p39"/>
            <p:cNvGrpSpPr/>
            <p:nvPr/>
          </p:nvGrpSpPr>
          <p:grpSpPr>
            <a:xfrm>
              <a:off x="7191542" y="1"/>
              <a:ext cx="5000459" cy="1425992"/>
              <a:chOff x="7186272" y="0"/>
              <a:chExt cx="5005729" cy="1427495"/>
            </a:xfrm>
          </p:grpSpPr>
          <p:sp>
            <p:nvSpPr>
              <p:cNvPr id="412" name="Google Shape;412;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4"/>
        <p:cNvGrpSpPr/>
        <p:nvPr/>
      </p:nvGrpSpPr>
      <p:grpSpPr>
        <a:xfrm>
          <a:off x="0" y="0"/>
          <a:ext cx="0" cy="0"/>
          <a:chOff x="0" y="0"/>
          <a:chExt cx="0" cy="0"/>
        </a:xfrm>
      </p:grpSpPr>
      <p:sp>
        <p:nvSpPr>
          <p:cNvPr id="415" name="Google Shape;415;p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6" name="Google Shape;416;p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 name="Google Shape;418;p40"/>
          <p:cNvSpPr>
            <a:spLocks noGrp="1"/>
          </p:cNvSpPr>
          <p:nvPr>
            <p:ph type="pic" idx="2"/>
          </p:nvPr>
        </p:nvSpPr>
        <p:spPr>
          <a:xfrm>
            <a:off x="7118684" y="233915"/>
            <a:ext cx="5073316" cy="5943600"/>
          </a:xfrm>
          <a:prstGeom prst="rect">
            <a:avLst/>
          </a:prstGeom>
          <a:noFill/>
          <a:ln>
            <a:noFill/>
          </a:ln>
        </p:spPr>
      </p:sp>
      <p:grpSp>
        <p:nvGrpSpPr>
          <p:cNvPr id="419" name="Google Shape;419;p40"/>
          <p:cNvGrpSpPr/>
          <p:nvPr/>
        </p:nvGrpSpPr>
        <p:grpSpPr>
          <a:xfrm>
            <a:off x="0" y="5020348"/>
            <a:ext cx="12192000" cy="1837653"/>
            <a:chOff x="0" y="5020348"/>
            <a:chExt cx="12192000" cy="1837653"/>
          </a:xfrm>
        </p:grpSpPr>
        <p:sp>
          <p:nvSpPr>
            <p:cNvPr id="420" name="Google Shape;420;p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2" name="Google Shape;422;p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23"/>
        <p:cNvGrpSpPr/>
        <p:nvPr/>
      </p:nvGrpSpPr>
      <p:grpSpPr>
        <a:xfrm>
          <a:off x="0" y="0"/>
          <a:ext cx="0" cy="0"/>
          <a:chOff x="0" y="0"/>
          <a:chExt cx="0" cy="0"/>
        </a:xfrm>
      </p:grpSpPr>
      <p:grpSp>
        <p:nvGrpSpPr>
          <p:cNvPr id="424" name="Google Shape;424;p41"/>
          <p:cNvGrpSpPr/>
          <p:nvPr/>
        </p:nvGrpSpPr>
        <p:grpSpPr>
          <a:xfrm>
            <a:off x="0" y="5020347"/>
            <a:ext cx="12192000" cy="1837653"/>
            <a:chOff x="0" y="5020347"/>
            <a:chExt cx="12192000" cy="1837653"/>
          </a:xfrm>
        </p:grpSpPr>
        <p:sp>
          <p:nvSpPr>
            <p:cNvPr id="425" name="Google Shape;425;p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8" name="Google Shape;428;p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9" name="Google Shape;429;p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31"/>
        <p:cNvGrpSpPr/>
        <p:nvPr/>
      </p:nvGrpSpPr>
      <p:grpSpPr>
        <a:xfrm>
          <a:off x="0" y="0"/>
          <a:ext cx="0" cy="0"/>
          <a:chOff x="0" y="0"/>
          <a:chExt cx="0" cy="0"/>
        </a:xfrm>
      </p:grpSpPr>
      <p:sp>
        <p:nvSpPr>
          <p:cNvPr id="432" name="Google Shape;432;p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3" name="Google Shape;433;p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 name="Google Shape;434;p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 name="Google Shape;435;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6" name="Google Shape;436;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 name="Google Shape;437;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8" name="Google Shape;438;p42"/>
          <p:cNvGrpSpPr/>
          <p:nvPr/>
        </p:nvGrpSpPr>
        <p:grpSpPr>
          <a:xfrm>
            <a:off x="7191542" y="1"/>
            <a:ext cx="5000459" cy="1425992"/>
            <a:chOff x="7191542" y="1"/>
            <a:chExt cx="5000459" cy="1425992"/>
          </a:xfrm>
        </p:grpSpPr>
        <p:pic>
          <p:nvPicPr>
            <p:cNvPr id="439" name="Google Shape;439;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42"/>
            <p:cNvGrpSpPr/>
            <p:nvPr/>
          </p:nvGrpSpPr>
          <p:grpSpPr>
            <a:xfrm>
              <a:off x="7191542" y="1"/>
              <a:ext cx="5000459" cy="1425992"/>
              <a:chOff x="7186272" y="0"/>
              <a:chExt cx="5005729" cy="1427495"/>
            </a:xfrm>
          </p:grpSpPr>
          <p:sp>
            <p:nvSpPr>
              <p:cNvPr id="441" name="Google Shape;441;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2" name="Google Shape;442;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43" name="Google Shape;443;p4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44"/>
        <p:cNvGrpSpPr/>
        <p:nvPr/>
      </p:nvGrpSpPr>
      <p:grpSpPr>
        <a:xfrm>
          <a:off x="0" y="0"/>
          <a:ext cx="0" cy="0"/>
          <a:chOff x="0" y="0"/>
          <a:chExt cx="0" cy="0"/>
        </a:xfrm>
      </p:grpSpPr>
      <p:grpSp>
        <p:nvGrpSpPr>
          <p:cNvPr id="445" name="Google Shape;445;p43"/>
          <p:cNvGrpSpPr/>
          <p:nvPr/>
        </p:nvGrpSpPr>
        <p:grpSpPr>
          <a:xfrm>
            <a:off x="7191542" y="1"/>
            <a:ext cx="5000459" cy="1425992"/>
            <a:chOff x="7191542" y="1"/>
            <a:chExt cx="5000459" cy="1425992"/>
          </a:xfrm>
        </p:grpSpPr>
        <p:pic>
          <p:nvPicPr>
            <p:cNvPr id="446" name="Google Shape;44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55"/>
        <p:cNvGrpSpPr/>
        <p:nvPr/>
      </p:nvGrpSpPr>
      <p:grpSpPr>
        <a:xfrm>
          <a:off x="0" y="0"/>
          <a:ext cx="0" cy="0"/>
          <a:chOff x="0" y="0"/>
          <a:chExt cx="0" cy="0"/>
        </a:xfrm>
      </p:grpSpPr>
      <p:sp>
        <p:nvSpPr>
          <p:cNvPr id="456" name="Google Shape;456;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8" name="Google Shape;458;p44"/>
          <p:cNvGrpSpPr/>
          <p:nvPr/>
        </p:nvGrpSpPr>
        <p:grpSpPr>
          <a:xfrm>
            <a:off x="7191542" y="1"/>
            <a:ext cx="5000459" cy="1425992"/>
            <a:chOff x="7191542" y="1"/>
            <a:chExt cx="5000459" cy="1425992"/>
          </a:xfrm>
        </p:grpSpPr>
        <p:pic>
          <p:nvPicPr>
            <p:cNvPr id="459" name="Google Shape;459;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 name="Google Shape;460;p44"/>
            <p:cNvGrpSpPr/>
            <p:nvPr/>
          </p:nvGrpSpPr>
          <p:grpSpPr>
            <a:xfrm>
              <a:off x="7191542" y="1"/>
              <a:ext cx="5000459" cy="1425992"/>
              <a:chOff x="7186272" y="0"/>
              <a:chExt cx="5005729" cy="1427495"/>
            </a:xfrm>
          </p:grpSpPr>
          <p:sp>
            <p:nvSpPr>
              <p:cNvPr id="461" name="Google Shape;461;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2" name="Google Shape;462;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3" name="Google Shape;463;p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5" name="Google Shape;46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6" name="Google Shape;46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467"/>
        <p:cNvGrpSpPr/>
        <p:nvPr/>
      </p:nvGrpSpPr>
      <p:grpSpPr>
        <a:xfrm>
          <a:off x="0" y="0"/>
          <a:ext cx="0" cy="0"/>
          <a:chOff x="0" y="0"/>
          <a:chExt cx="0" cy="0"/>
        </a:xfrm>
      </p:grpSpPr>
      <p:grpSp>
        <p:nvGrpSpPr>
          <p:cNvPr id="468" name="Google Shape;468;p45"/>
          <p:cNvGrpSpPr/>
          <p:nvPr/>
        </p:nvGrpSpPr>
        <p:grpSpPr>
          <a:xfrm>
            <a:off x="7191542" y="1"/>
            <a:ext cx="5000459" cy="1425992"/>
            <a:chOff x="7191542" y="1"/>
            <a:chExt cx="5000459" cy="1425992"/>
          </a:xfrm>
        </p:grpSpPr>
        <p:pic>
          <p:nvPicPr>
            <p:cNvPr id="469" name="Google Shape;469;p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 name="Google Shape;470;p45"/>
            <p:cNvGrpSpPr/>
            <p:nvPr/>
          </p:nvGrpSpPr>
          <p:grpSpPr>
            <a:xfrm>
              <a:off x="7191542" y="1"/>
              <a:ext cx="5000459" cy="1425992"/>
              <a:chOff x="7186272" y="0"/>
              <a:chExt cx="5005729" cy="1427495"/>
            </a:xfrm>
          </p:grpSpPr>
          <p:sp>
            <p:nvSpPr>
              <p:cNvPr id="471" name="Google Shape;471;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3" name="Google Shape;473;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 name="Google Shape;474;p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 name="Google Shape;475;p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7" name="Google Shape;477;p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8" name="Google Shape;478;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 name="Google Shape;479;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 name="Google Shape;480;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81"/>
        <p:cNvGrpSpPr/>
        <p:nvPr/>
      </p:nvGrpSpPr>
      <p:grpSpPr>
        <a:xfrm>
          <a:off x="0" y="0"/>
          <a:ext cx="0" cy="0"/>
          <a:chOff x="0" y="0"/>
          <a:chExt cx="0" cy="0"/>
        </a:xfrm>
      </p:grpSpPr>
      <p:sp>
        <p:nvSpPr>
          <p:cNvPr id="482" name="Google Shape;482;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3" name="Google Shape;483;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4" name="Google Shape;484;p46"/>
          <p:cNvGrpSpPr/>
          <p:nvPr/>
        </p:nvGrpSpPr>
        <p:grpSpPr>
          <a:xfrm>
            <a:off x="0" y="5379426"/>
            <a:ext cx="2807368" cy="753891"/>
            <a:chOff x="0" y="5379426"/>
            <a:chExt cx="2807368" cy="753891"/>
          </a:xfrm>
        </p:grpSpPr>
        <p:sp>
          <p:nvSpPr>
            <p:cNvPr id="485" name="Google Shape;485;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6" name="Google Shape;486;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87" name="Google Shape;487;p46"/>
          <p:cNvSpPr>
            <a:spLocks noGrp="1"/>
          </p:cNvSpPr>
          <p:nvPr>
            <p:ph type="pic" idx="2"/>
          </p:nvPr>
        </p:nvSpPr>
        <p:spPr>
          <a:xfrm>
            <a:off x="2807368" y="457202"/>
            <a:ext cx="8915400" cy="5943598"/>
          </a:xfrm>
          <a:prstGeom prst="rect">
            <a:avLst/>
          </a:prstGeom>
          <a:noFill/>
          <a:ln>
            <a:noFill/>
          </a:ln>
        </p:spPr>
      </p:sp>
      <p:pic>
        <p:nvPicPr>
          <p:cNvPr id="488" name="Google Shape;488;p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89"/>
        <p:cNvGrpSpPr/>
        <p:nvPr/>
      </p:nvGrpSpPr>
      <p:grpSpPr>
        <a:xfrm>
          <a:off x="0" y="0"/>
          <a:ext cx="0" cy="0"/>
          <a:chOff x="0" y="0"/>
          <a:chExt cx="0" cy="0"/>
        </a:xfrm>
      </p:grpSpPr>
      <p:grpSp>
        <p:nvGrpSpPr>
          <p:cNvPr id="490" name="Google Shape;490;p47"/>
          <p:cNvGrpSpPr/>
          <p:nvPr/>
        </p:nvGrpSpPr>
        <p:grpSpPr>
          <a:xfrm>
            <a:off x="0" y="0"/>
            <a:ext cx="12192000" cy="2148830"/>
            <a:chOff x="0" y="0"/>
            <a:chExt cx="12192000" cy="2148830"/>
          </a:xfrm>
        </p:grpSpPr>
        <p:sp>
          <p:nvSpPr>
            <p:cNvPr id="491" name="Google Shape;491;p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93" name="Google Shape;493;p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 name="Google Shape;494;p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6" name="Google Shape;496;p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7" name="Google Shape;497;p4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98"/>
        <p:cNvGrpSpPr/>
        <p:nvPr/>
      </p:nvGrpSpPr>
      <p:grpSpPr>
        <a:xfrm>
          <a:off x="0" y="0"/>
          <a:ext cx="0" cy="0"/>
          <a:chOff x="0" y="0"/>
          <a:chExt cx="0" cy="0"/>
        </a:xfrm>
      </p:grpSpPr>
      <p:sp>
        <p:nvSpPr>
          <p:cNvPr id="499" name="Google Shape;49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 name="Google Shape;50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2" name="Google Shape;502;p48"/>
          <p:cNvGrpSpPr/>
          <p:nvPr/>
        </p:nvGrpSpPr>
        <p:grpSpPr>
          <a:xfrm>
            <a:off x="7191542" y="1"/>
            <a:ext cx="5000459" cy="1425992"/>
            <a:chOff x="7191542" y="1"/>
            <a:chExt cx="5000459" cy="1425992"/>
          </a:xfrm>
        </p:grpSpPr>
        <p:pic>
          <p:nvPicPr>
            <p:cNvPr id="503" name="Google Shape;503;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48"/>
            <p:cNvGrpSpPr/>
            <p:nvPr/>
          </p:nvGrpSpPr>
          <p:grpSpPr>
            <a:xfrm>
              <a:off x="7191542" y="1"/>
              <a:ext cx="5000459" cy="1425992"/>
              <a:chOff x="7186272" y="0"/>
              <a:chExt cx="5005729" cy="1427495"/>
            </a:xfrm>
          </p:grpSpPr>
          <p:sp>
            <p:nvSpPr>
              <p:cNvPr id="505" name="Google Shape;50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07"/>
        <p:cNvGrpSpPr/>
        <p:nvPr/>
      </p:nvGrpSpPr>
      <p:grpSpPr>
        <a:xfrm>
          <a:off x="0" y="0"/>
          <a:ext cx="0" cy="0"/>
          <a:chOff x="0" y="0"/>
          <a:chExt cx="0" cy="0"/>
        </a:xfrm>
      </p:grpSpPr>
      <p:grpSp>
        <p:nvGrpSpPr>
          <p:cNvPr id="508" name="Google Shape;508;p49"/>
          <p:cNvGrpSpPr/>
          <p:nvPr/>
        </p:nvGrpSpPr>
        <p:grpSpPr>
          <a:xfrm>
            <a:off x="7191542" y="1"/>
            <a:ext cx="5000459" cy="1425992"/>
            <a:chOff x="7191542" y="1"/>
            <a:chExt cx="5000459" cy="1425992"/>
          </a:xfrm>
        </p:grpSpPr>
        <p:pic>
          <p:nvPicPr>
            <p:cNvPr id="509" name="Google Shape;509;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 name="Google Shape;510;p49"/>
            <p:cNvGrpSpPr/>
            <p:nvPr/>
          </p:nvGrpSpPr>
          <p:grpSpPr>
            <a:xfrm>
              <a:off x="7191542" y="1"/>
              <a:ext cx="5000459" cy="1425992"/>
              <a:chOff x="7186272" y="0"/>
              <a:chExt cx="5005729" cy="1427495"/>
            </a:xfrm>
          </p:grpSpPr>
          <p:sp>
            <p:nvSpPr>
              <p:cNvPr id="511" name="Google Shape;511;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2" name="Google Shape;512;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3" name="Google Shape;513;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5" name="Google Shape;515;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 name="Google Shape;516;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7"/>
        <p:cNvGrpSpPr/>
        <p:nvPr/>
      </p:nvGrpSpPr>
      <p:grpSpPr>
        <a:xfrm>
          <a:off x="0" y="0"/>
          <a:ext cx="0" cy="0"/>
          <a:chOff x="0" y="0"/>
          <a:chExt cx="0" cy="0"/>
        </a:xfrm>
      </p:grpSpPr>
      <p:sp>
        <p:nvSpPr>
          <p:cNvPr id="518" name="Google Shape;518;p50"/>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 name="Google Shape;519;p50"/>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0" name="Google Shape;520;p50"/>
          <p:cNvGrpSpPr/>
          <p:nvPr/>
        </p:nvGrpSpPr>
        <p:grpSpPr>
          <a:xfrm flipH="1">
            <a:off x="-1" y="1"/>
            <a:ext cx="6418725" cy="1509822"/>
            <a:chOff x="7522541" y="1"/>
            <a:chExt cx="4669459" cy="1098357"/>
          </a:xfrm>
        </p:grpSpPr>
        <p:sp>
          <p:nvSpPr>
            <p:cNvPr id="521" name="Google Shape;521;p50"/>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50"/>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3" name="Google Shape;523;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24"/>
        <p:cNvGrpSpPr/>
        <p:nvPr/>
      </p:nvGrpSpPr>
      <p:grpSpPr>
        <a:xfrm>
          <a:off x="0" y="0"/>
          <a:ext cx="0" cy="0"/>
          <a:chOff x="0" y="0"/>
          <a:chExt cx="0" cy="0"/>
        </a:xfrm>
      </p:grpSpPr>
      <p:sp>
        <p:nvSpPr>
          <p:cNvPr id="525" name="Google Shape;525;p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51"/>
          <p:cNvGrpSpPr/>
          <p:nvPr/>
        </p:nvGrpSpPr>
        <p:grpSpPr>
          <a:xfrm>
            <a:off x="7191542" y="1"/>
            <a:ext cx="5000459" cy="1425992"/>
            <a:chOff x="7191542" y="1"/>
            <a:chExt cx="5000459" cy="1425992"/>
          </a:xfrm>
        </p:grpSpPr>
        <p:pic>
          <p:nvPicPr>
            <p:cNvPr id="532" name="Google Shape;532;p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51"/>
            <p:cNvGrpSpPr/>
            <p:nvPr/>
          </p:nvGrpSpPr>
          <p:grpSpPr>
            <a:xfrm>
              <a:off x="7191542" y="1"/>
              <a:ext cx="5000459" cy="1425992"/>
              <a:chOff x="7186272" y="0"/>
              <a:chExt cx="5005729" cy="1427495"/>
            </a:xfrm>
          </p:grpSpPr>
          <p:sp>
            <p:nvSpPr>
              <p:cNvPr id="534" name="Google Shape;534;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5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37"/>
        <p:cNvGrpSpPr/>
        <p:nvPr/>
      </p:nvGrpSpPr>
      <p:grpSpPr>
        <a:xfrm>
          <a:off x="0" y="0"/>
          <a:ext cx="0" cy="0"/>
          <a:chOff x="0" y="0"/>
          <a:chExt cx="0" cy="0"/>
        </a:xfrm>
      </p:grpSpPr>
      <p:sp>
        <p:nvSpPr>
          <p:cNvPr id="538" name="Google Shape;538;p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 name="Google Shape;541;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2" name="Google Shape;542;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 name="Google Shape;543;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4" name="Google Shape;544;p52"/>
          <p:cNvGrpSpPr/>
          <p:nvPr/>
        </p:nvGrpSpPr>
        <p:grpSpPr>
          <a:xfrm>
            <a:off x="7191542" y="1"/>
            <a:ext cx="5000459" cy="1425992"/>
            <a:chOff x="7191542" y="1"/>
            <a:chExt cx="5000459" cy="1425992"/>
          </a:xfrm>
        </p:grpSpPr>
        <p:pic>
          <p:nvPicPr>
            <p:cNvPr id="545" name="Google Shape;545;p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 name="Google Shape;546;p52"/>
            <p:cNvGrpSpPr/>
            <p:nvPr/>
          </p:nvGrpSpPr>
          <p:grpSpPr>
            <a:xfrm>
              <a:off x="7191542" y="1"/>
              <a:ext cx="5000459" cy="1425992"/>
              <a:chOff x="7186272" y="0"/>
              <a:chExt cx="5005729" cy="1427495"/>
            </a:xfrm>
          </p:grpSpPr>
          <p:sp>
            <p:nvSpPr>
              <p:cNvPr id="547" name="Google Shape;547;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9" name="Google Shape;549;p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50"/>
        <p:cNvGrpSpPr/>
        <p:nvPr/>
      </p:nvGrpSpPr>
      <p:grpSpPr>
        <a:xfrm>
          <a:off x="0" y="0"/>
          <a:ext cx="0" cy="0"/>
          <a:chOff x="0" y="0"/>
          <a:chExt cx="0" cy="0"/>
        </a:xfrm>
      </p:grpSpPr>
      <p:sp>
        <p:nvSpPr>
          <p:cNvPr id="551" name="Google Shape;551;p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p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 name="Google Shape;553;p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 name="Google Shape;554;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 name="Google Shape;555;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7" name="Google Shape;557;p53"/>
          <p:cNvGrpSpPr/>
          <p:nvPr/>
        </p:nvGrpSpPr>
        <p:grpSpPr>
          <a:xfrm>
            <a:off x="7191542" y="1"/>
            <a:ext cx="5000459" cy="1425992"/>
            <a:chOff x="7191542" y="1"/>
            <a:chExt cx="5000459" cy="1425992"/>
          </a:xfrm>
        </p:grpSpPr>
        <p:pic>
          <p:nvPicPr>
            <p:cNvPr id="558" name="Google Shape;558;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9" name="Google Shape;559;p53"/>
            <p:cNvGrpSpPr/>
            <p:nvPr/>
          </p:nvGrpSpPr>
          <p:grpSpPr>
            <a:xfrm>
              <a:off x="7191542" y="1"/>
              <a:ext cx="5000459" cy="1425992"/>
              <a:chOff x="7186272" y="0"/>
              <a:chExt cx="5005729" cy="1427495"/>
            </a:xfrm>
          </p:grpSpPr>
          <p:sp>
            <p:nvSpPr>
              <p:cNvPr id="560" name="Google Shape;560;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2" name="Google Shape;562;p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63"/>
        <p:cNvGrpSpPr/>
        <p:nvPr/>
      </p:nvGrpSpPr>
      <p:grpSpPr>
        <a:xfrm>
          <a:off x="0" y="0"/>
          <a:ext cx="0" cy="0"/>
          <a:chOff x="0" y="0"/>
          <a:chExt cx="0" cy="0"/>
        </a:xfrm>
      </p:grpSpPr>
      <p:sp>
        <p:nvSpPr>
          <p:cNvPr id="564" name="Google Shape;564;p5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6" name="Google Shape;566;p5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67" name="Google Shape;567;p5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8" name="Google Shape;568;p5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569" name="Google Shape;569;p5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5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 name="Google Shape;571;p5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 name="Google Shape;572;p5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3" name="Google Shape;573;p5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 name="Google Shape;574;p5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5"/>
        <p:cNvGrpSpPr/>
        <p:nvPr/>
      </p:nvGrpSpPr>
      <p:grpSpPr>
        <a:xfrm>
          <a:off x="0" y="0"/>
          <a:ext cx="0" cy="0"/>
          <a:chOff x="0" y="0"/>
          <a:chExt cx="0" cy="0"/>
        </a:xfrm>
      </p:grpSpPr>
      <p:sp>
        <p:nvSpPr>
          <p:cNvPr id="576" name="Google Shape;576;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 name="Google Shape;577;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 name="Google Shape;578;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 name="Google Shape;58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2" name="Google Shape;582;p55"/>
          <p:cNvGrpSpPr/>
          <p:nvPr/>
        </p:nvGrpSpPr>
        <p:grpSpPr>
          <a:xfrm>
            <a:off x="7191542" y="1"/>
            <a:ext cx="5000459" cy="1425992"/>
            <a:chOff x="7191542" y="1"/>
            <a:chExt cx="5000459" cy="1425992"/>
          </a:xfrm>
        </p:grpSpPr>
        <p:pic>
          <p:nvPicPr>
            <p:cNvPr id="583" name="Google Shape;583;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 name="Google Shape;584;p55"/>
            <p:cNvGrpSpPr/>
            <p:nvPr/>
          </p:nvGrpSpPr>
          <p:grpSpPr>
            <a:xfrm>
              <a:off x="7191542" y="1"/>
              <a:ext cx="5000459" cy="1425992"/>
              <a:chOff x="7186272" y="0"/>
              <a:chExt cx="5005729" cy="1427495"/>
            </a:xfrm>
          </p:grpSpPr>
          <p:sp>
            <p:nvSpPr>
              <p:cNvPr id="585" name="Google Shape;58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7" name="Google Shape;587;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8"/>
        <p:cNvGrpSpPr/>
        <p:nvPr/>
      </p:nvGrpSpPr>
      <p:grpSpPr>
        <a:xfrm>
          <a:off x="0" y="0"/>
          <a:ext cx="0" cy="0"/>
          <a:chOff x="0" y="0"/>
          <a:chExt cx="0" cy="0"/>
        </a:xfrm>
      </p:grpSpPr>
      <p:sp>
        <p:nvSpPr>
          <p:cNvPr id="589" name="Google Shape;589;p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1" name="Google Shape;591;p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2" name="Google Shape;592;p56"/>
          <p:cNvSpPr>
            <a:spLocks noGrp="1"/>
          </p:cNvSpPr>
          <p:nvPr>
            <p:ph type="pic" idx="2"/>
          </p:nvPr>
        </p:nvSpPr>
        <p:spPr>
          <a:xfrm>
            <a:off x="7118684" y="233915"/>
            <a:ext cx="5073316" cy="5943600"/>
          </a:xfrm>
          <a:prstGeom prst="rect">
            <a:avLst/>
          </a:prstGeom>
          <a:noFill/>
          <a:ln>
            <a:noFill/>
          </a:ln>
        </p:spPr>
      </p:sp>
      <p:grpSp>
        <p:nvGrpSpPr>
          <p:cNvPr id="593" name="Google Shape;593;p56"/>
          <p:cNvGrpSpPr/>
          <p:nvPr/>
        </p:nvGrpSpPr>
        <p:grpSpPr>
          <a:xfrm>
            <a:off x="0" y="5020348"/>
            <a:ext cx="12192000" cy="1837653"/>
            <a:chOff x="0" y="5020348"/>
            <a:chExt cx="12192000" cy="1837653"/>
          </a:xfrm>
        </p:grpSpPr>
        <p:sp>
          <p:nvSpPr>
            <p:cNvPr id="594" name="Google Shape;594;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 name="Google Shape;595;p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6" name="Google Shape;596;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97"/>
        <p:cNvGrpSpPr/>
        <p:nvPr/>
      </p:nvGrpSpPr>
      <p:grpSpPr>
        <a:xfrm>
          <a:off x="0" y="0"/>
          <a:ext cx="0" cy="0"/>
          <a:chOff x="0" y="0"/>
          <a:chExt cx="0" cy="0"/>
        </a:xfrm>
      </p:grpSpPr>
      <p:grpSp>
        <p:nvGrpSpPr>
          <p:cNvPr id="598" name="Google Shape;598;p57"/>
          <p:cNvGrpSpPr/>
          <p:nvPr/>
        </p:nvGrpSpPr>
        <p:grpSpPr>
          <a:xfrm>
            <a:off x="0" y="5020347"/>
            <a:ext cx="12192000" cy="1837653"/>
            <a:chOff x="0" y="5020347"/>
            <a:chExt cx="12192000" cy="1837653"/>
          </a:xfrm>
        </p:grpSpPr>
        <p:sp>
          <p:nvSpPr>
            <p:cNvPr id="599" name="Google Shape;599;p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2" name="Google Shape;602;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3" name="Google Shape;603;p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605"/>
        <p:cNvGrpSpPr/>
        <p:nvPr/>
      </p:nvGrpSpPr>
      <p:grpSpPr>
        <a:xfrm>
          <a:off x="0" y="0"/>
          <a:ext cx="0" cy="0"/>
          <a:chOff x="0" y="0"/>
          <a:chExt cx="0" cy="0"/>
        </a:xfrm>
      </p:grpSpPr>
      <p:sp>
        <p:nvSpPr>
          <p:cNvPr id="606" name="Google Shape;606;p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7" name="Google Shape;607;p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 name="Google Shape;608;p58"/>
          <p:cNvGrpSpPr/>
          <p:nvPr/>
        </p:nvGrpSpPr>
        <p:grpSpPr>
          <a:xfrm>
            <a:off x="0" y="5379426"/>
            <a:ext cx="2807368" cy="753891"/>
            <a:chOff x="0" y="5379426"/>
            <a:chExt cx="2807368" cy="753891"/>
          </a:xfrm>
        </p:grpSpPr>
        <p:sp>
          <p:nvSpPr>
            <p:cNvPr id="609" name="Google Shape;609;p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 name="Google Shape;610;p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1" name="Google Shape;611;p58"/>
          <p:cNvSpPr>
            <a:spLocks noGrp="1"/>
          </p:cNvSpPr>
          <p:nvPr>
            <p:ph type="pic" idx="2"/>
          </p:nvPr>
        </p:nvSpPr>
        <p:spPr>
          <a:xfrm>
            <a:off x="2807368" y="457202"/>
            <a:ext cx="8915400" cy="5943598"/>
          </a:xfrm>
          <a:prstGeom prst="rect">
            <a:avLst/>
          </a:prstGeom>
          <a:noFill/>
          <a:ln>
            <a:noFill/>
          </a:ln>
        </p:spPr>
      </p:sp>
      <p:pic>
        <p:nvPicPr>
          <p:cNvPr id="612" name="Google Shape;612;p5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13"/>
        <p:cNvGrpSpPr/>
        <p:nvPr/>
      </p:nvGrpSpPr>
      <p:grpSpPr>
        <a:xfrm>
          <a:off x="0" y="0"/>
          <a:ext cx="0" cy="0"/>
          <a:chOff x="0" y="0"/>
          <a:chExt cx="0" cy="0"/>
        </a:xfrm>
      </p:grpSpPr>
      <p:sp>
        <p:nvSpPr>
          <p:cNvPr id="614" name="Google Shape;614;p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 name="Google Shape;616;p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 name="Google Shape;617;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 name="Google Shape;618;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 name="Google Shape;619;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 name="Google Shape;620;p59"/>
          <p:cNvGrpSpPr/>
          <p:nvPr/>
        </p:nvGrpSpPr>
        <p:grpSpPr>
          <a:xfrm>
            <a:off x="7191542" y="1"/>
            <a:ext cx="5000459" cy="1425992"/>
            <a:chOff x="7191542" y="1"/>
            <a:chExt cx="5000459" cy="1425992"/>
          </a:xfrm>
        </p:grpSpPr>
        <p:pic>
          <p:nvPicPr>
            <p:cNvPr id="621" name="Google Shape;62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 name="Google Shape;622;p59"/>
            <p:cNvGrpSpPr/>
            <p:nvPr/>
          </p:nvGrpSpPr>
          <p:grpSpPr>
            <a:xfrm>
              <a:off x="7191542" y="1"/>
              <a:ext cx="5000459" cy="1425992"/>
              <a:chOff x="7186272" y="0"/>
              <a:chExt cx="5005729" cy="1427495"/>
            </a:xfrm>
          </p:grpSpPr>
          <p:sp>
            <p:nvSpPr>
              <p:cNvPr id="623" name="Google Shape;62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5" name="Google Shape;625;p5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626"/>
        <p:cNvGrpSpPr/>
        <p:nvPr/>
      </p:nvGrpSpPr>
      <p:grpSpPr>
        <a:xfrm>
          <a:off x="0" y="0"/>
          <a:ext cx="0" cy="0"/>
          <a:chOff x="0" y="0"/>
          <a:chExt cx="0" cy="0"/>
        </a:xfrm>
      </p:grpSpPr>
      <p:grpSp>
        <p:nvGrpSpPr>
          <p:cNvPr id="627" name="Google Shape;627;p60"/>
          <p:cNvGrpSpPr/>
          <p:nvPr/>
        </p:nvGrpSpPr>
        <p:grpSpPr>
          <a:xfrm>
            <a:off x="7191542" y="1"/>
            <a:ext cx="5000459" cy="1425992"/>
            <a:chOff x="7191542" y="1"/>
            <a:chExt cx="5000459" cy="1425992"/>
          </a:xfrm>
        </p:grpSpPr>
        <p:pic>
          <p:nvPicPr>
            <p:cNvPr id="628" name="Google Shape;628;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0"/>
            <p:cNvGrpSpPr/>
            <p:nvPr/>
          </p:nvGrpSpPr>
          <p:grpSpPr>
            <a:xfrm>
              <a:off x="7191542" y="1"/>
              <a:ext cx="5000459" cy="1425992"/>
              <a:chOff x="7186272" y="0"/>
              <a:chExt cx="5005729" cy="1427495"/>
            </a:xfrm>
          </p:grpSpPr>
          <p:sp>
            <p:nvSpPr>
              <p:cNvPr id="630" name="Google Shape;630;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 name="Google Shape;633;p6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 name="Google Shape;634;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5" name="Google Shape;635;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 name="Google Shape;636;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37"/>
        <p:cNvGrpSpPr/>
        <p:nvPr/>
      </p:nvGrpSpPr>
      <p:grpSpPr>
        <a:xfrm>
          <a:off x="0" y="0"/>
          <a:ext cx="0" cy="0"/>
          <a:chOff x="0" y="0"/>
          <a:chExt cx="0" cy="0"/>
        </a:xfrm>
      </p:grpSpPr>
      <p:sp>
        <p:nvSpPr>
          <p:cNvPr id="638" name="Google Shape;63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 name="Google Shape;639;p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0" name="Google Shape;640;p61"/>
          <p:cNvGrpSpPr/>
          <p:nvPr/>
        </p:nvGrpSpPr>
        <p:grpSpPr>
          <a:xfrm>
            <a:off x="7191542" y="1"/>
            <a:ext cx="5000459" cy="1425992"/>
            <a:chOff x="7191542" y="1"/>
            <a:chExt cx="5000459" cy="1425992"/>
          </a:xfrm>
        </p:grpSpPr>
        <p:pic>
          <p:nvPicPr>
            <p:cNvPr id="641" name="Google Shape;641;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 name="Google Shape;642;p61"/>
            <p:cNvGrpSpPr/>
            <p:nvPr/>
          </p:nvGrpSpPr>
          <p:grpSpPr>
            <a:xfrm>
              <a:off x="7191542" y="1"/>
              <a:ext cx="5000459" cy="1425992"/>
              <a:chOff x="7186272" y="0"/>
              <a:chExt cx="5005729" cy="1427495"/>
            </a:xfrm>
          </p:grpSpPr>
          <p:sp>
            <p:nvSpPr>
              <p:cNvPr id="643" name="Google Shape;643;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 name="Google Shape;645;p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 name="Google Shape;646;p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7" name="Google Shape;647;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 name="Google Shape;648;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49"/>
        <p:cNvGrpSpPr/>
        <p:nvPr/>
      </p:nvGrpSpPr>
      <p:grpSpPr>
        <a:xfrm>
          <a:off x="0" y="0"/>
          <a:ext cx="0" cy="0"/>
          <a:chOff x="0" y="0"/>
          <a:chExt cx="0" cy="0"/>
        </a:xfrm>
      </p:grpSpPr>
      <p:grpSp>
        <p:nvGrpSpPr>
          <p:cNvPr id="650" name="Google Shape;650;p62"/>
          <p:cNvGrpSpPr/>
          <p:nvPr/>
        </p:nvGrpSpPr>
        <p:grpSpPr>
          <a:xfrm>
            <a:off x="7191542" y="1"/>
            <a:ext cx="5000459" cy="1425992"/>
            <a:chOff x="7191542" y="1"/>
            <a:chExt cx="5000459" cy="1425992"/>
          </a:xfrm>
        </p:grpSpPr>
        <p:pic>
          <p:nvPicPr>
            <p:cNvPr id="651" name="Google Shape;651;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 name="Google Shape;652;p62"/>
            <p:cNvGrpSpPr/>
            <p:nvPr/>
          </p:nvGrpSpPr>
          <p:grpSpPr>
            <a:xfrm>
              <a:off x="7191542" y="1"/>
              <a:ext cx="5000459" cy="1425992"/>
              <a:chOff x="7186272" y="0"/>
              <a:chExt cx="5005729" cy="1427495"/>
            </a:xfrm>
          </p:grpSpPr>
          <p:sp>
            <p:nvSpPr>
              <p:cNvPr id="653" name="Google Shape;653;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5" name="Google Shape;655;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 name="Google Shape;656;p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7" name="Google Shape;657;p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 name="Google Shape;658;p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 name="Google Shape;659;p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 name="Google Shape;660;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 name="Google Shape;661;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 name="Google Shape;662;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63"/>
        <p:cNvGrpSpPr/>
        <p:nvPr/>
      </p:nvGrpSpPr>
      <p:grpSpPr>
        <a:xfrm>
          <a:off x="0" y="0"/>
          <a:ext cx="0" cy="0"/>
          <a:chOff x="0" y="0"/>
          <a:chExt cx="0" cy="0"/>
        </a:xfrm>
      </p:grpSpPr>
      <p:grpSp>
        <p:nvGrpSpPr>
          <p:cNvPr id="664" name="Google Shape;664;p63"/>
          <p:cNvGrpSpPr/>
          <p:nvPr/>
        </p:nvGrpSpPr>
        <p:grpSpPr>
          <a:xfrm>
            <a:off x="7191542" y="1"/>
            <a:ext cx="5000459" cy="1425992"/>
            <a:chOff x="7191542" y="1"/>
            <a:chExt cx="5000459" cy="1425992"/>
          </a:xfrm>
        </p:grpSpPr>
        <p:pic>
          <p:nvPicPr>
            <p:cNvPr id="665" name="Google Shape;665;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 name="Google Shape;666;p63"/>
            <p:cNvGrpSpPr/>
            <p:nvPr/>
          </p:nvGrpSpPr>
          <p:grpSpPr>
            <a:xfrm>
              <a:off x="7191542" y="1"/>
              <a:ext cx="5000459" cy="1425992"/>
              <a:chOff x="7186272" y="0"/>
              <a:chExt cx="5005729" cy="1427495"/>
            </a:xfrm>
          </p:grpSpPr>
          <p:sp>
            <p:nvSpPr>
              <p:cNvPr id="667" name="Google Shape;667;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 name="Google Shape;669;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 name="Google Shape;670;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73"/>
        <p:cNvGrpSpPr/>
        <p:nvPr/>
      </p:nvGrpSpPr>
      <p:grpSpPr>
        <a:xfrm>
          <a:off x="0" y="0"/>
          <a:ext cx="0" cy="0"/>
          <a:chOff x="0" y="0"/>
          <a:chExt cx="0" cy="0"/>
        </a:xfrm>
      </p:grpSpPr>
      <p:grpSp>
        <p:nvGrpSpPr>
          <p:cNvPr id="674" name="Google Shape;674;p64"/>
          <p:cNvGrpSpPr/>
          <p:nvPr/>
        </p:nvGrpSpPr>
        <p:grpSpPr>
          <a:xfrm>
            <a:off x="0" y="0"/>
            <a:ext cx="12192000" cy="2148830"/>
            <a:chOff x="0" y="0"/>
            <a:chExt cx="12192000" cy="2148830"/>
          </a:xfrm>
        </p:grpSpPr>
        <p:sp>
          <p:nvSpPr>
            <p:cNvPr id="675" name="Google Shape;675;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7" name="Google Shape;677;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8" name="Google Shape;678;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0" name="Google Shape;680;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1" name="Google Shape;681;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82"/>
        <p:cNvGrpSpPr/>
        <p:nvPr/>
      </p:nvGrpSpPr>
      <p:grpSpPr>
        <a:xfrm>
          <a:off x="0" y="0"/>
          <a:ext cx="0" cy="0"/>
          <a:chOff x="0" y="0"/>
          <a:chExt cx="0" cy="0"/>
        </a:xfrm>
      </p:grpSpPr>
      <p:sp>
        <p:nvSpPr>
          <p:cNvPr id="683" name="Google Shape;683;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5"/>
          <p:cNvGrpSpPr/>
          <p:nvPr/>
        </p:nvGrpSpPr>
        <p:grpSpPr>
          <a:xfrm>
            <a:off x="7191542" y="1"/>
            <a:ext cx="5000459" cy="1425992"/>
            <a:chOff x="7191542" y="1"/>
            <a:chExt cx="5000459" cy="1425992"/>
          </a:xfrm>
        </p:grpSpPr>
        <p:pic>
          <p:nvPicPr>
            <p:cNvPr id="687" name="Google Shape;687;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5"/>
            <p:cNvGrpSpPr/>
            <p:nvPr/>
          </p:nvGrpSpPr>
          <p:grpSpPr>
            <a:xfrm>
              <a:off x="7191542" y="1"/>
              <a:ext cx="5000459" cy="1425992"/>
              <a:chOff x="7186272" y="0"/>
              <a:chExt cx="5005729" cy="1427495"/>
            </a:xfrm>
          </p:grpSpPr>
          <p:sp>
            <p:nvSpPr>
              <p:cNvPr id="689" name="Google Shape;689;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91"/>
        <p:cNvGrpSpPr/>
        <p:nvPr/>
      </p:nvGrpSpPr>
      <p:grpSpPr>
        <a:xfrm>
          <a:off x="0" y="0"/>
          <a:ext cx="0" cy="0"/>
          <a:chOff x="0" y="0"/>
          <a:chExt cx="0" cy="0"/>
        </a:xfrm>
      </p:grpSpPr>
      <p:sp>
        <p:nvSpPr>
          <p:cNvPr id="692" name="Google Shape;692;p6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 name="Google Shape;693;p6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4" name="Google Shape;694;p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95" name="Google Shape;69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6" name="Google Shape;696;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97"/>
        <p:cNvGrpSpPr/>
        <p:nvPr/>
      </p:nvGrpSpPr>
      <p:grpSpPr>
        <a:xfrm>
          <a:off x="0" y="0"/>
          <a:ext cx="0" cy="0"/>
          <a:chOff x="0" y="0"/>
          <a:chExt cx="0" cy="0"/>
        </a:xfrm>
      </p:grpSpPr>
      <p:sp>
        <p:nvSpPr>
          <p:cNvPr id="698" name="Google Shape;698;p6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9" name="Google Shape;699;p6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 name="Google Shape;700;p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01" name="Google Shape;701;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2" name="Google Shape;702;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03" name="Google Shape;703;p6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4" name="Google Shape;704;p6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5" name="Google Shape;705;p6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06" name="Google Shape;706;p6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707"/>
        <p:cNvGrpSpPr/>
        <p:nvPr/>
      </p:nvGrpSpPr>
      <p:grpSpPr>
        <a:xfrm>
          <a:off x="0" y="0"/>
          <a:ext cx="0" cy="0"/>
          <a:chOff x="0" y="0"/>
          <a:chExt cx="0" cy="0"/>
        </a:xfrm>
      </p:grpSpPr>
      <p:sp>
        <p:nvSpPr>
          <p:cNvPr id="708" name="Google Shape;708;p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9" name="Google Shape;709;p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1" name="Google Shape;711;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2" name="Google Shape;712;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13" name="Google Shape;713;p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4" name="Google Shape;714;p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5" name="Google Shape;715;p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16" name="Google Shape;716;p6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17"/>
        <p:cNvGrpSpPr/>
        <p:nvPr/>
      </p:nvGrpSpPr>
      <p:grpSpPr>
        <a:xfrm>
          <a:off x="0" y="0"/>
          <a:ext cx="0" cy="0"/>
          <a:chOff x="0" y="0"/>
          <a:chExt cx="0" cy="0"/>
        </a:xfrm>
      </p:grpSpPr>
      <p:sp>
        <p:nvSpPr>
          <p:cNvPr id="718" name="Google Shape;718;p6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 name="Google Shape;719;p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0" name="Google Shape;720;p6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1" name="Google Shape;721;p6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2" name="Google Shape;722;p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23"/>
        <p:cNvGrpSpPr/>
        <p:nvPr/>
      </p:nvGrpSpPr>
      <p:grpSpPr>
        <a:xfrm>
          <a:off x="0" y="0"/>
          <a:ext cx="0" cy="0"/>
          <a:chOff x="0" y="0"/>
          <a:chExt cx="0" cy="0"/>
        </a:xfrm>
      </p:grpSpPr>
      <p:sp>
        <p:nvSpPr>
          <p:cNvPr id="724" name="Google Shape;724;p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25" name="Google Shape;725;p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26" name="Google Shape;726;p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7" name="Google Shape;727;p7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 name="Google Shape;728;p7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29"/>
        <p:cNvGrpSpPr/>
        <p:nvPr/>
      </p:nvGrpSpPr>
      <p:grpSpPr>
        <a:xfrm>
          <a:off x="0" y="0"/>
          <a:ext cx="0" cy="0"/>
          <a:chOff x="0" y="0"/>
          <a:chExt cx="0" cy="0"/>
        </a:xfrm>
      </p:grpSpPr>
      <p:sp>
        <p:nvSpPr>
          <p:cNvPr id="730" name="Google Shape;730;p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1" name="Google Shape;731;p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2" name="Google Shape;732;p7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3" name="Google Shape;733;p7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5" name="Google Shape;735;p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736"/>
        <p:cNvGrpSpPr/>
        <p:nvPr/>
      </p:nvGrpSpPr>
      <p:grpSpPr>
        <a:xfrm>
          <a:off x="0" y="0"/>
          <a:ext cx="0" cy="0"/>
          <a:chOff x="0" y="0"/>
          <a:chExt cx="0" cy="0"/>
        </a:xfrm>
      </p:grpSpPr>
      <p:sp>
        <p:nvSpPr>
          <p:cNvPr id="737" name="Google Shape;737;p7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8" name="Google Shape;738;p7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 name="Google Shape;739;p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0" name="Google Shape;740;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1" name="Google Shape;74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42" name="Google Shape;742;p7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3" name="Google Shape;743;p7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4" name="Google Shape;744;p7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45" name="Google Shape;745;p7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746"/>
        <p:cNvGrpSpPr/>
        <p:nvPr/>
      </p:nvGrpSpPr>
      <p:grpSpPr>
        <a:xfrm>
          <a:off x="0" y="0"/>
          <a:ext cx="0" cy="0"/>
          <a:chOff x="0" y="0"/>
          <a:chExt cx="0" cy="0"/>
        </a:xfrm>
      </p:grpSpPr>
      <p:sp>
        <p:nvSpPr>
          <p:cNvPr id="747" name="Google Shape;747;p7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8" name="Google Shape;748;p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49" name="Google Shape;749;p7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0" name="Google Shape;750;p7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1" name="Google Shape;751;p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752"/>
        <p:cNvGrpSpPr/>
        <p:nvPr/>
      </p:nvGrpSpPr>
      <p:grpSpPr>
        <a:xfrm>
          <a:off x="0" y="0"/>
          <a:ext cx="0" cy="0"/>
          <a:chOff x="0" y="0"/>
          <a:chExt cx="0" cy="0"/>
        </a:xfrm>
      </p:grpSpPr>
      <p:sp>
        <p:nvSpPr>
          <p:cNvPr id="753" name="Google Shape;753;p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54" name="Google Shape;754;p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5" name="Google Shape;755;p7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6" name="Google Shape;756;p7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7" name="Google Shape;757;p7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758"/>
        <p:cNvGrpSpPr/>
        <p:nvPr/>
      </p:nvGrpSpPr>
      <p:grpSpPr>
        <a:xfrm>
          <a:off x="0" y="0"/>
          <a:ext cx="0" cy="0"/>
          <a:chOff x="0" y="0"/>
          <a:chExt cx="0" cy="0"/>
        </a:xfrm>
      </p:grpSpPr>
      <p:sp>
        <p:nvSpPr>
          <p:cNvPr id="759" name="Google Shape;759;p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0" name="Google Shape;760;p7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1" name="Google Shape;761;p7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 name="Google Shape;762;p7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4" name="Google Shape;764;p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765"/>
        <p:cNvGrpSpPr/>
        <p:nvPr/>
      </p:nvGrpSpPr>
      <p:grpSpPr>
        <a:xfrm>
          <a:off x="0" y="0"/>
          <a:ext cx="0" cy="0"/>
          <a:chOff x="0" y="0"/>
          <a:chExt cx="0" cy="0"/>
        </a:xfrm>
      </p:grpSpPr>
      <p:sp>
        <p:nvSpPr>
          <p:cNvPr id="766" name="Google Shape;766;p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7" name="Google Shape;767;p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 name="Google Shape;768;p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69" name="Google Shape;76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0" name="Google Shape;770;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71" name="Google Shape;771;p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2" name="Google Shape;772;p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3" name="Google Shape;773;p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4" name="Google Shape;774;p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775"/>
        <p:cNvGrpSpPr/>
        <p:nvPr/>
      </p:nvGrpSpPr>
      <p:grpSpPr>
        <a:xfrm>
          <a:off x="0" y="0"/>
          <a:ext cx="0" cy="0"/>
          <a:chOff x="0" y="0"/>
          <a:chExt cx="0" cy="0"/>
        </a:xfrm>
      </p:grpSpPr>
      <p:sp>
        <p:nvSpPr>
          <p:cNvPr id="776" name="Google Shape;776;p7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 name="Google Shape;777;p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8" name="Google Shape;778;p7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9" name="Google Shape;779;p7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0" name="Google Shape;780;p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781"/>
        <p:cNvGrpSpPr/>
        <p:nvPr/>
      </p:nvGrpSpPr>
      <p:grpSpPr>
        <a:xfrm>
          <a:off x="0" y="0"/>
          <a:ext cx="0" cy="0"/>
          <a:chOff x="0" y="0"/>
          <a:chExt cx="0" cy="0"/>
        </a:xfrm>
      </p:grpSpPr>
      <p:sp>
        <p:nvSpPr>
          <p:cNvPr id="782" name="Google Shape;782;p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3" name="Google Shape;783;p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4" name="Google Shape;784;p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5" name="Google Shape;785;p7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 name="Google Shape;786;p7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787"/>
        <p:cNvGrpSpPr/>
        <p:nvPr/>
      </p:nvGrpSpPr>
      <p:grpSpPr>
        <a:xfrm>
          <a:off x="0" y="0"/>
          <a:ext cx="0" cy="0"/>
          <a:chOff x="0" y="0"/>
          <a:chExt cx="0" cy="0"/>
        </a:xfrm>
      </p:grpSpPr>
      <p:sp>
        <p:nvSpPr>
          <p:cNvPr id="788" name="Google Shape;788;p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 name="Google Shape;789;p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 name="Google Shape;790;p7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7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7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3" name="Google Shape;793;p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794"/>
        <p:cNvGrpSpPr/>
        <p:nvPr/>
      </p:nvGrpSpPr>
      <p:grpSpPr>
        <a:xfrm>
          <a:off x="0" y="0"/>
          <a:ext cx="0" cy="0"/>
          <a:chOff x="0" y="0"/>
          <a:chExt cx="0" cy="0"/>
        </a:xfrm>
      </p:grpSpPr>
      <p:sp>
        <p:nvSpPr>
          <p:cNvPr id="795" name="Google Shape;795;p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 name="Google Shape;796;p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 name="Google Shape;797;p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 name="Google Shape;798;p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9" name="Google Shape;799;p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800"/>
        <p:cNvGrpSpPr/>
        <p:nvPr/>
      </p:nvGrpSpPr>
      <p:grpSpPr>
        <a:xfrm>
          <a:off x="0" y="0"/>
          <a:ext cx="0" cy="0"/>
          <a:chOff x="0" y="0"/>
          <a:chExt cx="0" cy="0"/>
        </a:xfrm>
      </p:grpSpPr>
      <p:sp>
        <p:nvSpPr>
          <p:cNvPr id="801" name="Google Shape;801;p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2" name="Google Shape;802;p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803" name="Google Shape;803;p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4" name="Google Shape;804;p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5" name="Google Shape;805;p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806"/>
        <p:cNvGrpSpPr/>
        <p:nvPr/>
      </p:nvGrpSpPr>
      <p:grpSpPr>
        <a:xfrm>
          <a:off x="0" y="0"/>
          <a:ext cx="0" cy="0"/>
          <a:chOff x="0" y="0"/>
          <a:chExt cx="0" cy="0"/>
        </a:xfrm>
      </p:grpSpPr>
      <p:sp>
        <p:nvSpPr>
          <p:cNvPr id="807" name="Google Shape;807;p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8" name="Google Shape;808;p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9" name="Google Shape;809;p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 name="Google Shape;810;p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 name="Google Shape;811;p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 name="Google Shape;812;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813"/>
        <p:cNvGrpSpPr/>
        <p:nvPr/>
      </p:nvGrpSpPr>
      <p:grpSpPr>
        <a:xfrm>
          <a:off x="0" y="0"/>
          <a:ext cx="0" cy="0"/>
          <a:chOff x="0" y="0"/>
          <a:chExt cx="0" cy="0"/>
        </a:xfrm>
      </p:grpSpPr>
      <p:sp>
        <p:nvSpPr>
          <p:cNvPr id="814" name="Google Shape;814;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 name="Google Shape;816;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83"/>
          <p:cNvSpPr>
            <a:spLocks noGrp="1"/>
          </p:cNvSpPr>
          <p:nvPr>
            <p:ph type="pic" idx="2"/>
          </p:nvPr>
        </p:nvSpPr>
        <p:spPr>
          <a:xfrm>
            <a:off x="7118684" y="233915"/>
            <a:ext cx="5073316" cy="5943600"/>
          </a:xfrm>
          <a:prstGeom prst="rect">
            <a:avLst/>
          </a:prstGeom>
          <a:noFill/>
          <a:ln>
            <a:noFill/>
          </a:ln>
        </p:spPr>
      </p:sp>
      <p:grpSp>
        <p:nvGrpSpPr>
          <p:cNvPr id="818" name="Google Shape;818;p83"/>
          <p:cNvGrpSpPr/>
          <p:nvPr/>
        </p:nvGrpSpPr>
        <p:grpSpPr>
          <a:xfrm>
            <a:off x="0" y="5020348"/>
            <a:ext cx="12192000" cy="1837653"/>
            <a:chOff x="0" y="5020348"/>
            <a:chExt cx="12192000" cy="1837653"/>
          </a:xfrm>
        </p:grpSpPr>
        <p:sp>
          <p:nvSpPr>
            <p:cNvPr id="819" name="Google Shape;81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1" name="Google Shape;821;p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822"/>
        <p:cNvGrpSpPr/>
        <p:nvPr/>
      </p:nvGrpSpPr>
      <p:grpSpPr>
        <a:xfrm>
          <a:off x="0" y="0"/>
          <a:ext cx="0" cy="0"/>
          <a:chOff x="0" y="0"/>
          <a:chExt cx="0" cy="0"/>
        </a:xfrm>
      </p:grpSpPr>
      <p:grpSp>
        <p:nvGrpSpPr>
          <p:cNvPr id="823" name="Google Shape;823;p84"/>
          <p:cNvGrpSpPr/>
          <p:nvPr/>
        </p:nvGrpSpPr>
        <p:grpSpPr>
          <a:xfrm>
            <a:off x="0" y="5020347"/>
            <a:ext cx="12192000" cy="1837653"/>
            <a:chOff x="0" y="5020347"/>
            <a:chExt cx="12192000" cy="1837653"/>
          </a:xfrm>
        </p:grpSpPr>
        <p:sp>
          <p:nvSpPr>
            <p:cNvPr id="824" name="Google Shape;824;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5" name="Google Shape;825;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7" name="Google Shape;827;p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 name="Google Shape;829;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830"/>
        <p:cNvGrpSpPr/>
        <p:nvPr/>
      </p:nvGrpSpPr>
      <p:grpSpPr>
        <a:xfrm>
          <a:off x="0" y="0"/>
          <a:ext cx="0" cy="0"/>
          <a:chOff x="0" y="0"/>
          <a:chExt cx="0" cy="0"/>
        </a:xfrm>
      </p:grpSpPr>
      <p:sp>
        <p:nvSpPr>
          <p:cNvPr id="831" name="Google Shape;831;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2" name="Google Shape;832;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 name="Google Shape;833;p85"/>
          <p:cNvGrpSpPr/>
          <p:nvPr/>
        </p:nvGrpSpPr>
        <p:grpSpPr>
          <a:xfrm>
            <a:off x="0" y="5379426"/>
            <a:ext cx="2807368" cy="753891"/>
            <a:chOff x="0" y="5379426"/>
            <a:chExt cx="2807368" cy="753891"/>
          </a:xfrm>
        </p:grpSpPr>
        <p:sp>
          <p:nvSpPr>
            <p:cNvPr id="834" name="Google Shape;834;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5" name="Google Shape;835;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6" name="Google Shape;836;p85"/>
          <p:cNvSpPr>
            <a:spLocks noGrp="1"/>
          </p:cNvSpPr>
          <p:nvPr>
            <p:ph type="pic" idx="2"/>
          </p:nvPr>
        </p:nvSpPr>
        <p:spPr>
          <a:xfrm>
            <a:off x="2807368" y="457202"/>
            <a:ext cx="8915400" cy="5943598"/>
          </a:xfrm>
          <a:prstGeom prst="rect">
            <a:avLst/>
          </a:prstGeom>
          <a:noFill/>
          <a:ln>
            <a:noFill/>
          </a:ln>
        </p:spPr>
      </p:sp>
      <p:pic>
        <p:nvPicPr>
          <p:cNvPr id="837" name="Google Shape;837;p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838"/>
        <p:cNvGrpSpPr/>
        <p:nvPr/>
      </p:nvGrpSpPr>
      <p:grpSpPr>
        <a:xfrm>
          <a:off x="0" y="0"/>
          <a:ext cx="0" cy="0"/>
          <a:chOff x="0" y="0"/>
          <a:chExt cx="0" cy="0"/>
        </a:xfrm>
      </p:grpSpPr>
      <p:sp>
        <p:nvSpPr>
          <p:cNvPr id="839" name="Google Shape;839;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1" name="Google Shape;841;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 name="Google Shape;842;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3" name="Google Shape;843;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4" name="Google Shape;844;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45" name="Google Shape;845;p86"/>
          <p:cNvGrpSpPr/>
          <p:nvPr/>
        </p:nvGrpSpPr>
        <p:grpSpPr>
          <a:xfrm>
            <a:off x="7191542" y="1"/>
            <a:ext cx="5000459" cy="1425992"/>
            <a:chOff x="7191542" y="1"/>
            <a:chExt cx="5000459" cy="1425992"/>
          </a:xfrm>
        </p:grpSpPr>
        <p:pic>
          <p:nvPicPr>
            <p:cNvPr id="846" name="Google Shape;846;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7" name="Google Shape;847;p86"/>
            <p:cNvGrpSpPr/>
            <p:nvPr/>
          </p:nvGrpSpPr>
          <p:grpSpPr>
            <a:xfrm>
              <a:off x="7191542" y="1"/>
              <a:ext cx="5000459" cy="1425992"/>
              <a:chOff x="7186272" y="0"/>
              <a:chExt cx="5005729" cy="1427495"/>
            </a:xfrm>
          </p:grpSpPr>
          <p:sp>
            <p:nvSpPr>
              <p:cNvPr id="848" name="Google Shape;848;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9" name="Google Shape;849;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0" name="Google Shape;850;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851"/>
        <p:cNvGrpSpPr/>
        <p:nvPr/>
      </p:nvGrpSpPr>
      <p:grpSpPr>
        <a:xfrm>
          <a:off x="0" y="0"/>
          <a:ext cx="0" cy="0"/>
          <a:chOff x="0" y="0"/>
          <a:chExt cx="0" cy="0"/>
        </a:xfrm>
      </p:grpSpPr>
      <p:grpSp>
        <p:nvGrpSpPr>
          <p:cNvPr id="852" name="Google Shape;852;p87"/>
          <p:cNvGrpSpPr/>
          <p:nvPr/>
        </p:nvGrpSpPr>
        <p:grpSpPr>
          <a:xfrm>
            <a:off x="7191542" y="1"/>
            <a:ext cx="5000459" cy="1425992"/>
            <a:chOff x="7191542" y="1"/>
            <a:chExt cx="5000459" cy="1425992"/>
          </a:xfrm>
        </p:grpSpPr>
        <p:pic>
          <p:nvPicPr>
            <p:cNvPr id="853" name="Google Shape;85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7"/>
            <p:cNvGrpSpPr/>
            <p:nvPr/>
          </p:nvGrpSpPr>
          <p:grpSpPr>
            <a:xfrm>
              <a:off x="7191542" y="1"/>
              <a:ext cx="5000459" cy="1425992"/>
              <a:chOff x="7186272" y="0"/>
              <a:chExt cx="5005729" cy="1427495"/>
            </a:xfrm>
          </p:grpSpPr>
          <p:sp>
            <p:nvSpPr>
              <p:cNvPr id="855" name="Google Shape;85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 name="Google Shape;858;p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 name="Google Shape;85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0" name="Google Shape;86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 name="Google Shape;86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862"/>
        <p:cNvGrpSpPr/>
        <p:nvPr/>
      </p:nvGrpSpPr>
      <p:grpSpPr>
        <a:xfrm>
          <a:off x="0" y="0"/>
          <a:ext cx="0" cy="0"/>
          <a:chOff x="0" y="0"/>
          <a:chExt cx="0" cy="0"/>
        </a:xfrm>
      </p:grpSpPr>
      <p:sp>
        <p:nvSpPr>
          <p:cNvPr id="863" name="Google Shape;863;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5" name="Google Shape;865;p88"/>
          <p:cNvGrpSpPr/>
          <p:nvPr/>
        </p:nvGrpSpPr>
        <p:grpSpPr>
          <a:xfrm>
            <a:off x="7191542" y="1"/>
            <a:ext cx="5000459" cy="1425992"/>
            <a:chOff x="7191542" y="1"/>
            <a:chExt cx="5000459" cy="1425992"/>
          </a:xfrm>
        </p:grpSpPr>
        <p:pic>
          <p:nvPicPr>
            <p:cNvPr id="866" name="Google Shape;866;p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88"/>
            <p:cNvGrpSpPr/>
            <p:nvPr/>
          </p:nvGrpSpPr>
          <p:grpSpPr>
            <a:xfrm>
              <a:off x="7191542" y="1"/>
              <a:ext cx="5000459" cy="1425992"/>
              <a:chOff x="7186272" y="0"/>
              <a:chExt cx="5005729" cy="1427495"/>
            </a:xfrm>
          </p:grpSpPr>
          <p:sp>
            <p:nvSpPr>
              <p:cNvPr id="868" name="Google Shape;868;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0" name="Google Shape;870;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 name="Google Shape;871;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2" name="Google Shape;87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 name="Google Shape;87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74"/>
        <p:cNvGrpSpPr/>
        <p:nvPr/>
      </p:nvGrpSpPr>
      <p:grpSpPr>
        <a:xfrm>
          <a:off x="0" y="0"/>
          <a:ext cx="0" cy="0"/>
          <a:chOff x="0" y="0"/>
          <a:chExt cx="0" cy="0"/>
        </a:xfrm>
      </p:grpSpPr>
      <p:grpSp>
        <p:nvGrpSpPr>
          <p:cNvPr id="875" name="Google Shape;875;p89"/>
          <p:cNvGrpSpPr/>
          <p:nvPr/>
        </p:nvGrpSpPr>
        <p:grpSpPr>
          <a:xfrm>
            <a:off x="7191542" y="1"/>
            <a:ext cx="5000459" cy="1425992"/>
            <a:chOff x="7191542" y="1"/>
            <a:chExt cx="5000459" cy="1425992"/>
          </a:xfrm>
        </p:grpSpPr>
        <p:pic>
          <p:nvPicPr>
            <p:cNvPr id="876" name="Google Shape;87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 name="Google Shape;877;p89"/>
            <p:cNvGrpSpPr/>
            <p:nvPr/>
          </p:nvGrpSpPr>
          <p:grpSpPr>
            <a:xfrm>
              <a:off x="7191542" y="1"/>
              <a:ext cx="5000459" cy="1425992"/>
              <a:chOff x="7186272" y="0"/>
              <a:chExt cx="5005729" cy="1427495"/>
            </a:xfrm>
          </p:grpSpPr>
          <p:sp>
            <p:nvSpPr>
              <p:cNvPr id="878" name="Google Shape;87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 name="Google Shape;87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0" name="Google Shape;88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 name="Google Shape;881;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4" name="Google Shape;884;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5" name="Google Shape;885;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6" name="Google Shape;886;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 name="Google Shape;887;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888"/>
        <p:cNvGrpSpPr/>
        <p:nvPr/>
      </p:nvGrpSpPr>
      <p:grpSpPr>
        <a:xfrm>
          <a:off x="0" y="0"/>
          <a:ext cx="0" cy="0"/>
          <a:chOff x="0" y="0"/>
          <a:chExt cx="0" cy="0"/>
        </a:xfrm>
      </p:grpSpPr>
      <p:grpSp>
        <p:nvGrpSpPr>
          <p:cNvPr id="889" name="Google Shape;889;p90"/>
          <p:cNvGrpSpPr/>
          <p:nvPr/>
        </p:nvGrpSpPr>
        <p:grpSpPr>
          <a:xfrm>
            <a:off x="7191542" y="1"/>
            <a:ext cx="5000459" cy="1425992"/>
            <a:chOff x="7191542" y="1"/>
            <a:chExt cx="5000459" cy="1425992"/>
          </a:xfrm>
        </p:grpSpPr>
        <p:pic>
          <p:nvPicPr>
            <p:cNvPr id="890" name="Google Shape;890;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90"/>
            <p:cNvGrpSpPr/>
            <p:nvPr/>
          </p:nvGrpSpPr>
          <p:grpSpPr>
            <a:xfrm>
              <a:off x="7191542" y="1"/>
              <a:ext cx="5000459" cy="1425992"/>
              <a:chOff x="7186272" y="0"/>
              <a:chExt cx="5005729" cy="1427495"/>
            </a:xfrm>
          </p:grpSpPr>
          <p:sp>
            <p:nvSpPr>
              <p:cNvPr id="892" name="Google Shape;892;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6" name="Google Shape;89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253.xml"/><Relationship Id="rId21" Type="http://schemas.openxmlformats.org/officeDocument/2006/relationships/slideLayout" Target="../slideLayouts/slideLayout157.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63" Type="http://schemas.openxmlformats.org/officeDocument/2006/relationships/slideLayout" Target="../slideLayouts/slideLayout199.xml"/><Relationship Id="rId68" Type="http://schemas.openxmlformats.org/officeDocument/2006/relationships/slideLayout" Target="../slideLayouts/slideLayout204.xml"/><Relationship Id="rId84" Type="http://schemas.openxmlformats.org/officeDocument/2006/relationships/slideLayout" Target="../slideLayouts/slideLayout220.xml"/><Relationship Id="rId89" Type="http://schemas.openxmlformats.org/officeDocument/2006/relationships/slideLayout" Target="../slideLayouts/slideLayout225.xml"/><Relationship Id="rId112" Type="http://schemas.openxmlformats.org/officeDocument/2006/relationships/slideLayout" Target="../slideLayouts/slideLayout248.xml"/><Relationship Id="rId16" Type="http://schemas.openxmlformats.org/officeDocument/2006/relationships/slideLayout" Target="../slideLayouts/slideLayout152.xml"/><Relationship Id="rId107" Type="http://schemas.openxmlformats.org/officeDocument/2006/relationships/slideLayout" Target="../slideLayouts/slideLayout243.xml"/><Relationship Id="rId11" Type="http://schemas.openxmlformats.org/officeDocument/2006/relationships/slideLayout" Target="../slideLayouts/slideLayout147.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53" Type="http://schemas.openxmlformats.org/officeDocument/2006/relationships/slideLayout" Target="../slideLayouts/slideLayout189.xml"/><Relationship Id="rId58" Type="http://schemas.openxmlformats.org/officeDocument/2006/relationships/slideLayout" Target="../slideLayouts/slideLayout194.xml"/><Relationship Id="rId74" Type="http://schemas.openxmlformats.org/officeDocument/2006/relationships/slideLayout" Target="../slideLayouts/slideLayout210.xml"/><Relationship Id="rId79" Type="http://schemas.openxmlformats.org/officeDocument/2006/relationships/slideLayout" Target="../slideLayouts/slideLayout215.xml"/><Relationship Id="rId102" Type="http://schemas.openxmlformats.org/officeDocument/2006/relationships/slideLayout" Target="../slideLayouts/slideLayout238.xml"/><Relationship Id="rId123" Type="http://schemas.openxmlformats.org/officeDocument/2006/relationships/slideLayout" Target="../slideLayouts/slideLayout259.xml"/><Relationship Id="rId128" Type="http://schemas.openxmlformats.org/officeDocument/2006/relationships/slideLayout" Target="../slideLayouts/slideLayout264.xml"/><Relationship Id="rId5" Type="http://schemas.openxmlformats.org/officeDocument/2006/relationships/slideLayout" Target="../slideLayouts/slideLayout141.xml"/><Relationship Id="rId90" Type="http://schemas.openxmlformats.org/officeDocument/2006/relationships/slideLayout" Target="../slideLayouts/slideLayout226.xml"/><Relationship Id="rId95" Type="http://schemas.openxmlformats.org/officeDocument/2006/relationships/slideLayout" Target="../slideLayouts/slideLayout231.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64" Type="http://schemas.openxmlformats.org/officeDocument/2006/relationships/slideLayout" Target="../slideLayouts/slideLayout200.xml"/><Relationship Id="rId69" Type="http://schemas.openxmlformats.org/officeDocument/2006/relationships/slideLayout" Target="../slideLayouts/slideLayout205.xml"/><Relationship Id="rId113" Type="http://schemas.openxmlformats.org/officeDocument/2006/relationships/slideLayout" Target="../slideLayouts/slideLayout249.xml"/><Relationship Id="rId118" Type="http://schemas.openxmlformats.org/officeDocument/2006/relationships/slideLayout" Target="../slideLayouts/slideLayout254.xml"/><Relationship Id="rId80" Type="http://schemas.openxmlformats.org/officeDocument/2006/relationships/slideLayout" Target="../slideLayouts/slideLayout216.xml"/><Relationship Id="rId85" Type="http://schemas.openxmlformats.org/officeDocument/2006/relationships/slideLayout" Target="../slideLayouts/slideLayout221.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59" Type="http://schemas.openxmlformats.org/officeDocument/2006/relationships/slideLayout" Target="../slideLayouts/slideLayout195.xml"/><Relationship Id="rId103" Type="http://schemas.openxmlformats.org/officeDocument/2006/relationships/slideLayout" Target="../slideLayouts/slideLayout239.xml"/><Relationship Id="rId108" Type="http://schemas.openxmlformats.org/officeDocument/2006/relationships/slideLayout" Target="../slideLayouts/slideLayout244.xml"/><Relationship Id="rId124" Type="http://schemas.openxmlformats.org/officeDocument/2006/relationships/slideLayout" Target="../slideLayouts/slideLayout260.xml"/><Relationship Id="rId129" Type="http://schemas.openxmlformats.org/officeDocument/2006/relationships/slideLayout" Target="../slideLayouts/slideLayout265.xml"/><Relationship Id="rId54" Type="http://schemas.openxmlformats.org/officeDocument/2006/relationships/slideLayout" Target="../slideLayouts/slideLayout190.xml"/><Relationship Id="rId70" Type="http://schemas.openxmlformats.org/officeDocument/2006/relationships/slideLayout" Target="../slideLayouts/slideLayout206.xml"/><Relationship Id="rId75" Type="http://schemas.openxmlformats.org/officeDocument/2006/relationships/slideLayout" Target="../slideLayouts/slideLayout211.xml"/><Relationship Id="rId91" Type="http://schemas.openxmlformats.org/officeDocument/2006/relationships/slideLayout" Target="../slideLayouts/slideLayout227.xml"/><Relationship Id="rId96" Type="http://schemas.openxmlformats.org/officeDocument/2006/relationships/slideLayout" Target="../slideLayouts/slideLayout232.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49" Type="http://schemas.openxmlformats.org/officeDocument/2006/relationships/slideLayout" Target="../slideLayouts/slideLayout185.xml"/><Relationship Id="rId114" Type="http://schemas.openxmlformats.org/officeDocument/2006/relationships/slideLayout" Target="../slideLayouts/slideLayout250.xml"/><Relationship Id="rId119" Type="http://schemas.openxmlformats.org/officeDocument/2006/relationships/slideLayout" Target="../slideLayouts/slideLayout255.xml"/><Relationship Id="rId44" Type="http://schemas.openxmlformats.org/officeDocument/2006/relationships/slideLayout" Target="../slideLayouts/slideLayout180.xml"/><Relationship Id="rId60" Type="http://schemas.openxmlformats.org/officeDocument/2006/relationships/slideLayout" Target="../slideLayouts/slideLayout196.xml"/><Relationship Id="rId65" Type="http://schemas.openxmlformats.org/officeDocument/2006/relationships/slideLayout" Target="../slideLayouts/slideLayout201.xml"/><Relationship Id="rId81" Type="http://schemas.openxmlformats.org/officeDocument/2006/relationships/slideLayout" Target="../slideLayouts/slideLayout217.xml"/><Relationship Id="rId86" Type="http://schemas.openxmlformats.org/officeDocument/2006/relationships/slideLayout" Target="../slideLayouts/slideLayout222.xml"/><Relationship Id="rId130" Type="http://schemas.openxmlformats.org/officeDocument/2006/relationships/theme" Target="../theme/theme3.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9" Type="http://schemas.openxmlformats.org/officeDocument/2006/relationships/slideLayout" Target="../slideLayouts/slideLayout175.xml"/><Relationship Id="rId109" Type="http://schemas.openxmlformats.org/officeDocument/2006/relationships/slideLayout" Target="../slideLayouts/slideLayout245.xml"/><Relationship Id="rId34" Type="http://schemas.openxmlformats.org/officeDocument/2006/relationships/slideLayout" Target="../slideLayouts/slideLayout170.xml"/><Relationship Id="rId50" Type="http://schemas.openxmlformats.org/officeDocument/2006/relationships/slideLayout" Target="../slideLayouts/slideLayout186.xml"/><Relationship Id="rId55" Type="http://schemas.openxmlformats.org/officeDocument/2006/relationships/slideLayout" Target="../slideLayouts/slideLayout191.xml"/><Relationship Id="rId76" Type="http://schemas.openxmlformats.org/officeDocument/2006/relationships/slideLayout" Target="../slideLayouts/slideLayout212.xml"/><Relationship Id="rId97" Type="http://schemas.openxmlformats.org/officeDocument/2006/relationships/slideLayout" Target="../slideLayouts/slideLayout233.xml"/><Relationship Id="rId104" Type="http://schemas.openxmlformats.org/officeDocument/2006/relationships/slideLayout" Target="../slideLayouts/slideLayout240.xml"/><Relationship Id="rId120" Type="http://schemas.openxmlformats.org/officeDocument/2006/relationships/slideLayout" Target="../slideLayouts/slideLayout256.xml"/><Relationship Id="rId125" Type="http://schemas.openxmlformats.org/officeDocument/2006/relationships/slideLayout" Target="../slideLayouts/slideLayout261.xml"/><Relationship Id="rId7" Type="http://schemas.openxmlformats.org/officeDocument/2006/relationships/slideLayout" Target="../slideLayouts/slideLayout143.xml"/><Relationship Id="rId71" Type="http://schemas.openxmlformats.org/officeDocument/2006/relationships/slideLayout" Target="../slideLayouts/slideLayout207.xml"/><Relationship Id="rId92" Type="http://schemas.openxmlformats.org/officeDocument/2006/relationships/slideLayout" Target="../slideLayouts/slideLayout228.xml"/><Relationship Id="rId2" Type="http://schemas.openxmlformats.org/officeDocument/2006/relationships/slideLayout" Target="../slideLayouts/slideLayout138.xml"/><Relationship Id="rId29" Type="http://schemas.openxmlformats.org/officeDocument/2006/relationships/slideLayout" Target="../slideLayouts/slideLayout165.xml"/><Relationship Id="rId24" Type="http://schemas.openxmlformats.org/officeDocument/2006/relationships/slideLayout" Target="../slideLayouts/slideLayout160.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66" Type="http://schemas.openxmlformats.org/officeDocument/2006/relationships/slideLayout" Target="../slideLayouts/slideLayout202.xml"/><Relationship Id="rId87" Type="http://schemas.openxmlformats.org/officeDocument/2006/relationships/slideLayout" Target="../slideLayouts/slideLayout223.xml"/><Relationship Id="rId110" Type="http://schemas.openxmlformats.org/officeDocument/2006/relationships/slideLayout" Target="../slideLayouts/slideLayout246.xml"/><Relationship Id="rId115" Type="http://schemas.openxmlformats.org/officeDocument/2006/relationships/slideLayout" Target="../slideLayouts/slideLayout251.xml"/><Relationship Id="rId61" Type="http://schemas.openxmlformats.org/officeDocument/2006/relationships/slideLayout" Target="../slideLayouts/slideLayout197.xml"/><Relationship Id="rId82" Type="http://schemas.openxmlformats.org/officeDocument/2006/relationships/slideLayout" Target="../slideLayouts/slideLayout218.xml"/><Relationship Id="rId19" Type="http://schemas.openxmlformats.org/officeDocument/2006/relationships/slideLayout" Target="../slideLayouts/slideLayout155.xml"/><Relationship Id="rId14" Type="http://schemas.openxmlformats.org/officeDocument/2006/relationships/slideLayout" Target="../slideLayouts/slideLayout150.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56" Type="http://schemas.openxmlformats.org/officeDocument/2006/relationships/slideLayout" Target="../slideLayouts/slideLayout192.xml"/><Relationship Id="rId77" Type="http://schemas.openxmlformats.org/officeDocument/2006/relationships/slideLayout" Target="../slideLayouts/slideLayout213.xml"/><Relationship Id="rId100" Type="http://schemas.openxmlformats.org/officeDocument/2006/relationships/slideLayout" Target="../slideLayouts/slideLayout236.xml"/><Relationship Id="rId105" Type="http://schemas.openxmlformats.org/officeDocument/2006/relationships/slideLayout" Target="../slideLayouts/slideLayout241.xml"/><Relationship Id="rId126" Type="http://schemas.openxmlformats.org/officeDocument/2006/relationships/slideLayout" Target="../slideLayouts/slideLayout262.xml"/><Relationship Id="rId8" Type="http://schemas.openxmlformats.org/officeDocument/2006/relationships/slideLayout" Target="../slideLayouts/slideLayout144.xml"/><Relationship Id="rId51" Type="http://schemas.openxmlformats.org/officeDocument/2006/relationships/slideLayout" Target="../slideLayouts/slideLayout187.xml"/><Relationship Id="rId72" Type="http://schemas.openxmlformats.org/officeDocument/2006/relationships/slideLayout" Target="../slideLayouts/slideLayout208.xml"/><Relationship Id="rId93" Type="http://schemas.openxmlformats.org/officeDocument/2006/relationships/slideLayout" Target="../slideLayouts/slideLayout229.xml"/><Relationship Id="rId98" Type="http://schemas.openxmlformats.org/officeDocument/2006/relationships/slideLayout" Target="../slideLayouts/slideLayout234.xml"/><Relationship Id="rId121" Type="http://schemas.openxmlformats.org/officeDocument/2006/relationships/slideLayout" Target="../slideLayouts/slideLayout257.xml"/><Relationship Id="rId3" Type="http://schemas.openxmlformats.org/officeDocument/2006/relationships/slideLayout" Target="../slideLayouts/slideLayout139.xml"/><Relationship Id="rId25" Type="http://schemas.openxmlformats.org/officeDocument/2006/relationships/slideLayout" Target="../slideLayouts/slideLayout161.xml"/><Relationship Id="rId46" Type="http://schemas.openxmlformats.org/officeDocument/2006/relationships/slideLayout" Target="../slideLayouts/slideLayout182.xml"/><Relationship Id="rId67" Type="http://schemas.openxmlformats.org/officeDocument/2006/relationships/slideLayout" Target="../slideLayouts/slideLayout203.xml"/><Relationship Id="rId116" Type="http://schemas.openxmlformats.org/officeDocument/2006/relationships/slideLayout" Target="../slideLayouts/slideLayout252.xml"/><Relationship Id="rId20" Type="http://schemas.openxmlformats.org/officeDocument/2006/relationships/slideLayout" Target="../slideLayouts/slideLayout156.xml"/><Relationship Id="rId41" Type="http://schemas.openxmlformats.org/officeDocument/2006/relationships/slideLayout" Target="../slideLayouts/slideLayout177.xml"/><Relationship Id="rId62" Type="http://schemas.openxmlformats.org/officeDocument/2006/relationships/slideLayout" Target="../slideLayouts/slideLayout198.xml"/><Relationship Id="rId83" Type="http://schemas.openxmlformats.org/officeDocument/2006/relationships/slideLayout" Target="../slideLayouts/slideLayout219.xml"/><Relationship Id="rId88" Type="http://schemas.openxmlformats.org/officeDocument/2006/relationships/slideLayout" Target="../slideLayouts/slideLayout224.xml"/><Relationship Id="rId111" Type="http://schemas.openxmlformats.org/officeDocument/2006/relationships/slideLayout" Target="../slideLayouts/slideLayout247.xml"/><Relationship Id="rId15" Type="http://schemas.openxmlformats.org/officeDocument/2006/relationships/slideLayout" Target="../slideLayouts/slideLayout151.xml"/><Relationship Id="rId36" Type="http://schemas.openxmlformats.org/officeDocument/2006/relationships/slideLayout" Target="../slideLayouts/slideLayout172.xml"/><Relationship Id="rId57" Type="http://schemas.openxmlformats.org/officeDocument/2006/relationships/slideLayout" Target="../slideLayouts/slideLayout193.xml"/><Relationship Id="rId106" Type="http://schemas.openxmlformats.org/officeDocument/2006/relationships/slideLayout" Target="../slideLayouts/slideLayout242.xml"/><Relationship Id="rId127" Type="http://schemas.openxmlformats.org/officeDocument/2006/relationships/slideLayout" Target="../slideLayouts/slideLayout263.xml"/><Relationship Id="rId10" Type="http://schemas.openxmlformats.org/officeDocument/2006/relationships/slideLayout" Target="../slideLayouts/slideLayout146.xml"/><Relationship Id="rId31" Type="http://schemas.openxmlformats.org/officeDocument/2006/relationships/slideLayout" Target="../slideLayouts/slideLayout167.xml"/><Relationship Id="rId52" Type="http://schemas.openxmlformats.org/officeDocument/2006/relationships/slideLayout" Target="../slideLayouts/slideLayout188.xml"/><Relationship Id="rId73" Type="http://schemas.openxmlformats.org/officeDocument/2006/relationships/slideLayout" Target="../slideLayouts/slideLayout209.xml"/><Relationship Id="rId78" Type="http://schemas.openxmlformats.org/officeDocument/2006/relationships/slideLayout" Target="../slideLayouts/slideLayout214.xml"/><Relationship Id="rId94" Type="http://schemas.openxmlformats.org/officeDocument/2006/relationships/slideLayout" Target="../slideLayouts/slideLayout230.xml"/><Relationship Id="rId99" Type="http://schemas.openxmlformats.org/officeDocument/2006/relationships/slideLayout" Target="../slideLayouts/slideLayout235.xml"/><Relationship Id="rId101" Type="http://schemas.openxmlformats.org/officeDocument/2006/relationships/slideLayout" Target="../slideLayouts/slideLayout237.xml"/><Relationship Id="rId122" Type="http://schemas.openxmlformats.org/officeDocument/2006/relationships/slideLayout" Target="../slideLayouts/slideLayout258.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26" Type="http://schemas.openxmlformats.org/officeDocument/2006/relationships/slideLayout" Target="../slideLayouts/slideLayout1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theme" Target="../theme/theme4.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5" Type="http://schemas.openxmlformats.org/officeDocument/2006/relationships/slideLayout" Target="../slideLayouts/slideLayout270.xml"/><Relationship Id="rId10" Type="http://schemas.openxmlformats.org/officeDocument/2006/relationships/slideLayout" Target="../slideLayouts/slideLayout275.xml"/><Relationship Id="rId4" Type="http://schemas.openxmlformats.org/officeDocument/2006/relationships/slideLayout" Target="../slideLayouts/slideLayout269.xml"/><Relationship Id="rId9" Type="http://schemas.openxmlformats.org/officeDocument/2006/relationships/slideLayout" Target="../slideLayouts/slideLayout2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5.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5.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theme" Target="../theme/theme6.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image" Target="../media/image58.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16.xml"/><Relationship Id="rId2" Type="http://schemas.openxmlformats.org/officeDocument/2006/relationships/slideLayout" Target="../slideLayouts/slideLayout315.xml"/><Relationship Id="rId1" Type="http://schemas.openxmlformats.org/officeDocument/2006/relationships/slideLayout" Target="../slideLayouts/slideLayout314.xml"/><Relationship Id="rId6" Type="http://schemas.openxmlformats.org/officeDocument/2006/relationships/theme" Target="../theme/theme7.xml"/><Relationship Id="rId5" Type="http://schemas.openxmlformats.org/officeDocument/2006/relationships/slideLayout" Target="../slideLayouts/slideLayout318.xml"/><Relationship Id="rId4" Type="http://schemas.openxmlformats.org/officeDocument/2006/relationships/slideLayout" Target="../slideLayouts/slideLayout3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5264" r:id="rId3"/>
    <p:sldLayoutId id="2147485265" r:id="rId4"/>
    <p:sldLayoutId id="2147485266" r:id="rId5"/>
    <p:sldLayoutId id="2147485267" r:id="rId6"/>
    <p:sldLayoutId id="2147485268" r:id="rId7"/>
    <p:sldLayoutId id="2147485269" r:id="rId8"/>
    <p:sldLayoutId id="2147485270" r:id="rId9"/>
    <p:sldLayoutId id="2147483657" r:id="rId10"/>
    <p:sldLayoutId id="2147483658" r:id="rId11"/>
    <p:sldLayoutId id="2147483659" r:id="rId12"/>
    <p:sldLayoutId id="2147485271" r:id="rId13"/>
    <p:sldLayoutId id="2147483661" r:id="rId14"/>
    <p:sldLayoutId id="2147483662" r:id="rId15"/>
    <p:sldLayoutId id="2147483663"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5246" r:id="rId28"/>
    <p:sldLayoutId id="2147483677" r:id="rId29"/>
    <p:sldLayoutId id="2147483678" r:id="rId30"/>
    <p:sldLayoutId id="2147483679" r:id="rId31"/>
    <p:sldLayoutId id="2147485252" r:id="rId32"/>
    <p:sldLayoutId id="2147485245" r:id="rId33"/>
    <p:sldLayoutId id="2147485253" r:id="rId34"/>
    <p:sldLayoutId id="2147483683" r:id="rId35"/>
    <p:sldLayoutId id="2147485254" r:id="rId36"/>
    <p:sldLayoutId id="2147485255" r:id="rId37"/>
    <p:sldLayoutId id="2147485256" r:id="rId38"/>
    <p:sldLayoutId id="2147485257" r:id="rId39"/>
    <p:sldLayoutId id="2147485258" r:id="rId40"/>
    <p:sldLayoutId id="2147485238" r:id="rId41"/>
    <p:sldLayoutId id="2147485239" r:id="rId42"/>
    <p:sldLayoutId id="2147485240" r:id="rId43"/>
    <p:sldLayoutId id="2147485241" r:id="rId44"/>
    <p:sldLayoutId id="2147485242" r:id="rId45"/>
    <p:sldLayoutId id="2147485243" r:id="rId46"/>
    <p:sldLayoutId id="2147485223" r:id="rId47"/>
    <p:sldLayoutId id="2147485249" r:id="rId48"/>
    <p:sldLayoutId id="2147485250" r:id="rId49"/>
    <p:sldLayoutId id="2147483698" r:id="rId50"/>
    <p:sldLayoutId id="2147485251" r:id="rId51"/>
    <p:sldLayoutId id="2147485283" r:id="rId52"/>
    <p:sldLayoutId id="2147485284" r:id="rId53"/>
    <p:sldLayoutId id="2147485285" r:id="rId54"/>
    <p:sldLayoutId id="2147485286" r:id="rId55"/>
    <p:sldLayoutId id="2147485287" r:id="rId56"/>
    <p:sldLayoutId id="2147485288" r:id="rId57"/>
    <p:sldLayoutId id="2147485289" r:id="rId58"/>
    <p:sldLayoutId id="2147485290" r:id="rId59"/>
    <p:sldLayoutId id="2147485291" r:id="rId60"/>
    <p:sldLayoutId id="2147485292" r:id="rId61"/>
    <p:sldLayoutId id="2147485293" r:id="rId62"/>
    <p:sldLayoutId id="2147485294" r:id="rId63"/>
    <p:sldLayoutId id="2147485295"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3726" r:id="rId78"/>
    <p:sldLayoutId id="2147483727"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 id="2147483737" r:id="rId89"/>
    <p:sldLayoutId id="2147483738" r:id="rId90"/>
    <p:sldLayoutId id="2147483739" r:id="rId91"/>
    <p:sldLayoutId id="2147483740" r:id="rId92"/>
    <p:sldLayoutId id="2147483741" r:id="rId93"/>
    <p:sldLayoutId id="2147483742" r:id="rId94"/>
    <p:sldLayoutId id="2147483743" r:id="rId95"/>
    <p:sldLayoutId id="2147483744" r:id="rId96"/>
    <p:sldLayoutId id="2147483745" r:id="rId97"/>
    <p:sldLayoutId id="2147483746" r:id="rId98"/>
    <p:sldLayoutId id="2147483747" r:id="rId99"/>
    <p:sldLayoutId id="2147483748" r:id="rId100"/>
    <p:sldLayoutId id="2147483749" r:id="rId101"/>
    <p:sldLayoutId id="2147483750" r:id="rId102"/>
    <p:sldLayoutId id="2147483751" r:id="rId103"/>
    <p:sldLayoutId id="2147483752" r:id="rId104"/>
    <p:sldLayoutId id="2147483753" r:id="rId105"/>
    <p:sldLayoutId id="2147483754" r:id="rId106"/>
    <p:sldLayoutId id="2147483755" r:id="rId107"/>
    <p:sldLayoutId id="2147483756" r:id="rId108"/>
    <p:sldLayoutId id="2147483757" r:id="rId109"/>
    <p:sldLayoutId id="2147483758" r:id="rId110"/>
    <p:sldLayoutId id="2147483759" r:id="rId111"/>
    <p:sldLayoutId id="2147483760" r:id="rId112"/>
    <p:sldLayoutId id="2147483761" r:id="rId113"/>
    <p:sldLayoutId id="2147483762" r:id="rId114"/>
    <p:sldLayoutId id="2147483763" r:id="rId115"/>
    <p:sldLayoutId id="2147483764" r:id="rId116"/>
    <p:sldLayoutId id="2147483765" r:id="rId117"/>
    <p:sldLayoutId id="2147483766" r:id="rId118"/>
    <p:sldLayoutId id="2147483767" r:id="rId119"/>
    <p:sldLayoutId id="2147483768" r:id="rId120"/>
    <p:sldLayoutId id="2147483769" r:id="rId121"/>
    <p:sldLayoutId id="2147483770" r:id="rId122"/>
    <p:sldLayoutId id="2147483771" r:id="rId123"/>
    <p:sldLayoutId id="2147483772" r:id="rId124"/>
    <p:sldLayoutId id="2147483773" r:id="rId12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321"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5322" r:id="rId14"/>
    <p:sldLayoutId id="2147484836" r:id="rId15"/>
    <p:sldLayoutId id="2147484837" r:id="rId16"/>
    <p:sldLayoutId id="2147485193" r:id="rId17"/>
    <p:sldLayoutId id="2147485194" r:id="rId18"/>
    <p:sldLayoutId id="2147485195" r:id="rId19"/>
    <p:sldLayoutId id="2147485196" r:id="rId20"/>
    <p:sldLayoutId id="2147485323" r:id="rId21"/>
    <p:sldLayoutId id="2147484353" r:id="rId22"/>
    <p:sldLayoutId id="2147484627" r:id="rId23"/>
    <p:sldLayoutId id="2147484354" r:id="rId24"/>
    <p:sldLayoutId id="2147485324" r:id="rId25"/>
    <p:sldLayoutId id="2147485325"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5326" r:id="rId35"/>
    <p:sldLayoutId id="2147484202" r:id="rId36"/>
    <p:sldLayoutId id="2147484203" r:id="rId37"/>
    <p:sldLayoutId id="2147484204" r:id="rId38"/>
    <p:sldLayoutId id="2147484205" r:id="rId39"/>
    <p:sldLayoutId id="2147484206" r:id="rId40"/>
    <p:sldLayoutId id="2147484237" r:id="rId41"/>
    <p:sldLayoutId id="2147484208" r:id="rId42"/>
    <p:sldLayoutId id="2147484378" r:id="rId43"/>
    <p:sldLayoutId id="2147485327" r:id="rId44"/>
    <p:sldLayoutId id="2147485328" r:id="rId45"/>
    <p:sldLayoutId id="2147485329" r:id="rId46"/>
    <p:sldLayoutId id="2147485072" r:id="rId47"/>
    <p:sldLayoutId id="2147485330" r:id="rId48"/>
    <p:sldLayoutId id="2147484231" r:id="rId49"/>
    <p:sldLayoutId id="2147485315" r:id="rId50"/>
    <p:sldLayoutId id="2147484235" r:id="rId51"/>
    <p:sldLayoutId id="2147485331" r:id="rId52"/>
    <p:sldLayoutId id="2147485314" r:id="rId53"/>
    <p:sldLayoutId id="2147485312" r:id="rId54"/>
    <p:sldLayoutId id="2147485045" r:id="rId55"/>
    <p:sldLayoutId id="2147485046" r:id="rId56"/>
    <p:sldLayoutId id="2147485172" r:id="rId57"/>
    <p:sldLayoutId id="2147484233" r:id="rId58"/>
    <p:sldLayoutId id="2147485059" r:id="rId59"/>
    <p:sldLayoutId id="2147483868" r:id="rId60"/>
    <p:sldLayoutId id="2147485183" r:id="rId61"/>
    <p:sldLayoutId id="2147485184" r:id="rId62"/>
    <p:sldLayoutId id="2147485185" r:id="rId63"/>
    <p:sldLayoutId id="2147485186" r:id="rId64"/>
    <p:sldLayoutId id="2147485187" r:id="rId65"/>
    <p:sldLayoutId id="2147485188" r:id="rId66"/>
    <p:sldLayoutId id="2147485189" r:id="rId67"/>
    <p:sldLayoutId id="2147485190" r:id="rId68"/>
    <p:sldLayoutId id="2147483676" r:id="rId69"/>
    <p:sldLayoutId id="2147484815" r:id="rId70"/>
    <p:sldLayoutId id="2147484816" r:id="rId71"/>
    <p:sldLayoutId id="2147484817" r:id="rId72"/>
    <p:sldLayoutId id="2147483814" r:id="rId73"/>
    <p:sldLayoutId id="2147483815" r:id="rId74"/>
    <p:sldLayoutId id="2147485131" r:id="rId75"/>
    <p:sldLayoutId id="2147484477" r:id="rId76"/>
    <p:sldLayoutId id="2147484478" r:id="rId77"/>
    <p:sldLayoutId id="2147485313" r:id="rId78"/>
    <p:sldLayoutId id="2147485332" r:id="rId79"/>
    <p:sldLayoutId id="2147484480" r:id="rId80"/>
    <p:sldLayoutId id="2147484267" r:id="rId81"/>
    <p:sldLayoutId id="2147484481" r:id="rId82"/>
    <p:sldLayoutId id="2147484482" r:id="rId83"/>
    <p:sldLayoutId id="2147484483" r:id="rId84"/>
    <p:sldLayoutId id="2147484484" r:id="rId85"/>
    <p:sldLayoutId id="2147485050" r:id="rId86"/>
    <p:sldLayoutId id="2147485051" r:id="rId87"/>
    <p:sldLayoutId id="2147485052" r:id="rId88"/>
    <p:sldLayoutId id="2147485333" r:id="rId89"/>
    <p:sldLayoutId id="2147485053" r:id="rId90"/>
    <p:sldLayoutId id="2147485054" r:id="rId91"/>
    <p:sldLayoutId id="2147485055" r:id="rId92"/>
    <p:sldLayoutId id="2147485056" r:id="rId93"/>
    <p:sldLayoutId id="2147485057" r:id="rId94"/>
    <p:sldLayoutId id="2147485058" r:id="rId95"/>
    <p:sldLayoutId id="2147483877" r:id="rId96"/>
    <p:sldLayoutId id="2147483878" r:id="rId97"/>
    <p:sldLayoutId id="2147484652" r:id="rId98"/>
    <p:sldLayoutId id="2147485084" r:id="rId99"/>
    <p:sldLayoutId id="2147485161" r:id="rId100"/>
    <p:sldLayoutId id="2147485213" r:id="rId101"/>
    <p:sldLayoutId id="2147485334" r:id="rId102"/>
    <p:sldLayoutId id="2147484222" r:id="rId103"/>
    <p:sldLayoutId id="2147485335" r:id="rId104"/>
    <p:sldLayoutId id="2147483680" r:id="rId105"/>
    <p:sldLayoutId id="2147485336" r:id="rId106"/>
    <p:sldLayoutId id="2147485197" r:id="rId107"/>
    <p:sldLayoutId id="2147483682" r:id="rId108"/>
    <p:sldLayoutId id="2147485337" r:id="rId109"/>
    <p:sldLayoutId id="2147485338" r:id="rId110"/>
    <p:sldLayoutId id="2147483684" r:id="rId111"/>
    <p:sldLayoutId id="2147483685" r:id="rId112"/>
    <p:sldLayoutId id="2147483686" r:id="rId113"/>
    <p:sldLayoutId id="2147483687" r:id="rId114"/>
    <p:sldLayoutId id="2147483688" r:id="rId115"/>
    <p:sldLayoutId id="2147485221" r:id="rId116"/>
    <p:sldLayoutId id="2147483689" r:id="rId117"/>
    <p:sldLayoutId id="2147483690" r:id="rId118"/>
    <p:sldLayoutId id="2147485222" r:id="rId119"/>
    <p:sldLayoutId id="2147483691" r:id="rId120"/>
    <p:sldLayoutId id="2147483692" r:id="rId121"/>
    <p:sldLayoutId id="2147483693" r:id="rId122"/>
    <p:sldLayoutId id="2147483694" r:id="rId123"/>
    <p:sldLayoutId id="2147485339" r:id="rId124"/>
    <p:sldLayoutId id="2147485296" r:id="rId125"/>
    <p:sldLayoutId id="2147485297" r:id="rId126"/>
    <p:sldLayoutId id="2147485298" r:id="rId127"/>
    <p:sldLayoutId id="2147485340" r:id="rId128"/>
    <p:sldLayoutId id="2147485299" r:id="rId12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31D0C0A5-1E81-4E0B-9125-10E4CA1FD255}" type="datetimeFigureOut">
              <a:rPr lang="en-US" smtClean="0"/>
              <a:t>5/28/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A388DFA5-36E5-4B64-8ECA-6ED739B152C8}"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9667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1500" y="257473"/>
            <a:ext cx="10287000" cy="1071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71500" y="1500188"/>
            <a:ext cx="10287000" cy="424309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71500" y="5959078"/>
            <a:ext cx="2667000" cy="342305"/>
          </a:xfrm>
          <a:prstGeom prst="rect">
            <a:avLst/>
          </a:prstGeom>
        </p:spPr>
        <p:txBody>
          <a:bodyPr vert="horz" lIns="91440" tIns="45720" rIns="91440" bIns="45720" rtlCol="0" anchor="ctr"/>
          <a:lstStyle>
            <a:lvl1pPr algn="l">
              <a:defRPr sz="1125">
                <a:solidFill>
                  <a:schemeClr val="tx1">
                    <a:tint val="75000"/>
                  </a:schemeClr>
                </a:solidFill>
              </a:defRPr>
            </a:lvl1pPr>
          </a:lstStyle>
          <a:p>
            <a:fld id="{1D8BD707-D9CF-40AE-B4C6-C98DA3205C09}" type="datetimeFigureOut">
              <a:rPr lang="en-US" smtClean="0"/>
              <a:pPr/>
              <a:t>5/28/2024</a:t>
            </a:fld>
            <a:endParaRPr lang="en-US"/>
          </a:p>
        </p:txBody>
      </p:sp>
      <p:sp>
        <p:nvSpPr>
          <p:cNvPr id="5" name="Footer Placeholder 4"/>
          <p:cNvSpPr>
            <a:spLocks noGrp="1"/>
          </p:cNvSpPr>
          <p:nvPr>
            <p:ph type="ftr" sz="quarter" idx="3"/>
          </p:nvPr>
        </p:nvSpPr>
        <p:spPr>
          <a:xfrm>
            <a:off x="3905250" y="5959078"/>
            <a:ext cx="3619500" cy="342305"/>
          </a:xfrm>
          <a:prstGeom prst="rect">
            <a:avLst/>
          </a:prstGeom>
        </p:spPr>
        <p:txBody>
          <a:bodyPr vert="horz" lIns="91440" tIns="45720" rIns="91440" bIns="45720" rtlCol="0" anchor="ctr"/>
          <a:lstStyle>
            <a:lvl1pPr algn="ctr">
              <a:defRPr sz="112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191500" y="5959078"/>
            <a:ext cx="2667000" cy="342305"/>
          </a:xfrm>
          <a:prstGeom prst="rect">
            <a:avLst/>
          </a:prstGeom>
        </p:spPr>
        <p:txBody>
          <a:bodyPr vert="horz" lIns="91440" tIns="45720" rIns="91440" bIns="45720" rtlCol="0" anchor="ctr"/>
          <a:lstStyle>
            <a:lvl1pPr algn="r">
              <a:defRPr sz="1125">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63057502"/>
      </p:ext>
    </p:extLst>
  </p:cSld>
  <p:clrMap bg1="lt1" tx1="dk1" bg2="lt2" tx2="dk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5311" r:id="rId11"/>
  </p:sldLayoutIdLst>
  <p:txStyles>
    <p:titleStyle>
      <a:lvl1pPr algn="ctr" defTabSz="857250" rtl="0" eaLnBrk="1" latinLnBrk="0" hangingPunct="1">
        <a:spcBef>
          <a:spcPct val="0"/>
        </a:spcBef>
        <a:buNone/>
        <a:defRPr sz="4125" kern="1200">
          <a:solidFill>
            <a:schemeClr val="tx1"/>
          </a:solidFill>
          <a:latin typeface="+mj-lt"/>
          <a:ea typeface="+mj-ea"/>
          <a:cs typeface="+mj-cs"/>
        </a:defRPr>
      </a:lvl1pPr>
    </p:titleStyle>
    <p:bodyStyle>
      <a:lvl1pPr marL="321469" indent="-321469" algn="l" defTabSz="857250" rtl="0" eaLnBrk="1" latinLnBrk="0" hangingPunct="1">
        <a:spcBef>
          <a:spcPct val="20000"/>
        </a:spcBef>
        <a:buFont typeface="Arial" pitchFamily="34" charset="0"/>
        <a:buChar char="•"/>
        <a:defRPr sz="3000" kern="1200">
          <a:solidFill>
            <a:schemeClr val="tx1"/>
          </a:solidFill>
          <a:latin typeface="+mn-lt"/>
          <a:ea typeface="+mn-ea"/>
          <a:cs typeface="+mn-cs"/>
        </a:defRPr>
      </a:lvl1pPr>
      <a:lvl2pPr marL="696516" indent="-267891" algn="l" defTabSz="857250" rtl="0" eaLnBrk="1" latinLnBrk="0" hangingPunct="1">
        <a:spcBef>
          <a:spcPct val="20000"/>
        </a:spcBef>
        <a:buFont typeface="Arial" pitchFamily="34" charset="0"/>
        <a:buChar char="–"/>
        <a:defRPr sz="2625" kern="1200">
          <a:solidFill>
            <a:schemeClr val="tx1"/>
          </a:solidFill>
          <a:latin typeface="+mn-lt"/>
          <a:ea typeface="+mn-ea"/>
          <a:cs typeface="+mn-cs"/>
        </a:defRPr>
      </a:lvl2pPr>
      <a:lvl3pPr marL="1071563" indent="-214313" algn="l" defTabSz="857250" rtl="0" eaLnBrk="1" latinLnBrk="0" hangingPunct="1">
        <a:spcBef>
          <a:spcPct val="20000"/>
        </a:spcBef>
        <a:buFont typeface="Arial" pitchFamily="34" charset="0"/>
        <a:buChar char="•"/>
        <a:defRPr sz="2250" kern="1200">
          <a:solidFill>
            <a:schemeClr val="tx1"/>
          </a:solidFill>
          <a:latin typeface="+mn-lt"/>
          <a:ea typeface="+mn-ea"/>
          <a:cs typeface="+mn-cs"/>
        </a:defRPr>
      </a:lvl3pPr>
      <a:lvl4pPr marL="150018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4pPr>
      <a:lvl5pPr marL="192881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5pPr>
      <a:lvl6pPr marL="235743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78606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21468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64331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15" name="TextBox 14"/>
          <p:cNvSpPr txBox="1"/>
          <p:nvPr/>
        </p:nvSpPr>
        <p:spPr>
          <a:xfrm>
            <a:off x="11127949" y="6270704"/>
            <a:ext cx="472779" cy="253916"/>
          </a:xfrm>
          <a:prstGeom prst="rect">
            <a:avLst/>
          </a:prstGeom>
          <a:noFill/>
        </p:spPr>
        <p:txBody>
          <a:bodyPr wrap="square" rtlCol="0">
            <a:spAutoFit/>
          </a:bodyPr>
          <a:lstStyle/>
          <a:p>
            <a:fld id="{260E2A6B-A809-4840-BF14-8648BC0BDF87}" type="slidenum">
              <a:rPr lang="id-ID" sz="1000" b="0" smtClean="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pPr/>
              <a:t>‹#›</a:t>
            </a:fld>
            <a:endParaRPr lang="en-MY" sz="1050" b="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p:cNvCxnSpPr>
            <a:cxnSpLocks/>
            <a:endCxn id="15" idx="1"/>
          </p:cNvCxnSpPr>
          <p:nvPr userDrawn="1"/>
        </p:nvCxnSpPr>
        <p:spPr>
          <a:xfrm flipV="1">
            <a:off x="3088901" y="6397662"/>
            <a:ext cx="8039048" cy="7188"/>
          </a:xfrm>
          <a:prstGeom prst="line">
            <a:avLst/>
          </a:prstGeom>
          <a:ln w="9525">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4147E80C-0321-4552-A0D6-504C51F6E70A}"/>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402928" y="5907025"/>
            <a:ext cx="2685973" cy="795720"/>
          </a:xfrm>
          <a:prstGeom prst="rect">
            <a:avLst/>
          </a:prstGeom>
        </p:spPr>
      </p:pic>
      <p:sp>
        <p:nvSpPr>
          <p:cNvPr id="7" name="Title 1">
            <a:extLst>
              <a:ext uri="{FF2B5EF4-FFF2-40B4-BE49-F238E27FC236}">
                <a16:creationId xmlns:a16="http://schemas.microsoft.com/office/drawing/2014/main" id="{2110E757-BAAF-4A31-BC71-0785A698362D}"/>
              </a:ext>
            </a:extLst>
          </p:cNvPr>
          <p:cNvSpPr txBox="1">
            <a:spLocks/>
          </p:cNvSpPr>
          <p:nvPr userDrawn="1"/>
        </p:nvSpPr>
        <p:spPr>
          <a:xfrm>
            <a:off x="838200" y="371728"/>
            <a:ext cx="10515600" cy="886732"/>
          </a:xfrm>
          <a:prstGeom prst="rect">
            <a:avLst/>
          </a:prstGeom>
        </p:spPr>
        <p:txBody>
          <a:bodyPr/>
          <a:lstStyle>
            <a:lvl1pPr algn="ctr" defTabSz="685800" rtl="0" eaLnBrk="1" latinLnBrk="0" hangingPunct="1">
              <a:lnSpc>
                <a:spcPct val="90000"/>
              </a:lnSpc>
              <a:spcBef>
                <a:spcPct val="0"/>
              </a:spcBef>
              <a:buNone/>
              <a:defRPr sz="33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endParaRPr lang="en-MY" sz="3300" dirty="0"/>
          </a:p>
        </p:txBody>
      </p:sp>
      <p:sp>
        <p:nvSpPr>
          <p:cNvPr id="8" name="Subtitle 2">
            <a:extLst>
              <a:ext uri="{FF2B5EF4-FFF2-40B4-BE49-F238E27FC236}">
                <a16:creationId xmlns:a16="http://schemas.microsoft.com/office/drawing/2014/main" id="{C53C9411-BDA2-4C54-964D-06C8754219F4}"/>
              </a:ext>
            </a:extLst>
          </p:cNvPr>
          <p:cNvSpPr txBox="1">
            <a:spLocks/>
          </p:cNvSpPr>
          <p:nvPr userDrawn="1"/>
        </p:nvSpPr>
        <p:spPr>
          <a:xfrm>
            <a:off x="1524000" y="1040179"/>
            <a:ext cx="9144000" cy="436562"/>
          </a:xfrm>
          <a:prstGeom prst="rect">
            <a:avLst/>
          </a:prstGeom>
        </p:spPr>
        <p:txBody>
          <a:bodyPr>
            <a:normAutofit/>
          </a:bodyPr>
          <a:lstStyle>
            <a:lvl1pPr marL="0" indent="0" algn="ctr" defTabSz="685800" rtl="0" eaLnBrk="1" latinLnBrk="0" hangingPunct="1">
              <a:lnSpc>
                <a:spcPct val="90000"/>
              </a:lnSpc>
              <a:spcBef>
                <a:spcPts val="750"/>
              </a:spcBef>
              <a:buFont typeface="Arial" panose="020B0604020202020204" pitchFamily="34" charset="0"/>
              <a:buNone/>
              <a:defRPr sz="15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MY" sz="1500" dirty="0"/>
          </a:p>
        </p:txBody>
      </p:sp>
      <p:sp>
        <p:nvSpPr>
          <p:cNvPr id="4" name="Title Placeholder 3">
            <a:extLst>
              <a:ext uri="{FF2B5EF4-FFF2-40B4-BE49-F238E27FC236}">
                <a16:creationId xmlns:a16="http://schemas.microsoft.com/office/drawing/2014/main" id="{9C844D66-F2E8-4CD8-AD0D-E01E8AD51448}"/>
              </a:ext>
            </a:extLst>
          </p:cNvPr>
          <p:cNvSpPr>
            <a:spLocks noGrp="1"/>
          </p:cNvSpPr>
          <p:nvPr>
            <p:ph type="title"/>
          </p:nvPr>
        </p:nvSpPr>
        <p:spPr>
          <a:xfrm>
            <a:off x="838200" y="379640"/>
            <a:ext cx="10515600" cy="893335"/>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81282792"/>
      </p:ext>
    </p:extLst>
  </p:cSld>
  <p:clrMap bg1="lt1" tx1="dk1" bg2="lt2" tx2="dk2" accent1="accent1" accent2="accent2" accent3="accent3" accent4="accent4" accent5="accent5" accent6="accent6" hlink="hlink" folHlink="folHlink"/>
  <p:sldLayoutIdLst>
    <p:sldLayoutId id="2147484253" r:id="rId1"/>
    <p:sldLayoutId id="2147484232" r:id="rId2"/>
    <p:sldLayoutId id="2147484247" r:id="rId3"/>
    <p:sldLayoutId id="2147484250" r:id="rId4"/>
    <p:sldLayoutId id="2147484262" r:id="rId5"/>
    <p:sldLayoutId id="2147484255" r:id="rId6"/>
    <p:sldLayoutId id="2147484256" r:id="rId7"/>
    <p:sldLayoutId id="2147484257" r:id="rId8"/>
    <p:sldLayoutId id="2147484258" r:id="rId9"/>
    <p:sldLayoutId id="2147484259" r:id="rId10"/>
    <p:sldLayoutId id="2147484260" r:id="rId11"/>
    <p:sldLayoutId id="2147484261" r:id="rId12"/>
    <p:sldLayoutId id="2147484254" r:id="rId13"/>
    <p:sldLayoutId id="2147484245" r:id="rId14"/>
    <p:sldLayoutId id="2147484275" r:id="rId15"/>
    <p:sldLayoutId id="2147484277" r:id="rId16"/>
    <p:sldLayoutId id="2147484263" r:id="rId17"/>
    <p:sldLayoutId id="2147484268" r:id="rId18"/>
    <p:sldLayoutId id="2147484276" r:id="rId19"/>
    <p:sldLayoutId id="2147484249" r:id="rId20"/>
    <p:sldLayoutId id="2147484274" r:id="rId21"/>
    <p:sldLayoutId id="2147484271" r:id="rId22"/>
    <p:sldLayoutId id="2147484272" r:id="rId23"/>
    <p:sldLayoutId id="2147484273" r:id="rId24"/>
    <p:sldLayoutId id="2147484243" r:id="rId25"/>
  </p:sldLayoutIdLst>
  <p:txStyles>
    <p:titleStyle>
      <a:lvl1pPr algn="ctr" defTabSz="685800" rtl="0" eaLnBrk="1" latinLnBrk="0" hangingPunct="1">
        <a:lnSpc>
          <a:spcPct val="90000"/>
        </a:lnSpc>
        <a:spcBef>
          <a:spcPct val="0"/>
        </a:spcBef>
        <a:buNone/>
        <a:defRPr sz="33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82212" y="284713"/>
            <a:ext cx="5266689" cy="728133"/>
          </a:xfrm>
          <a:prstGeom prst="rect">
            <a:avLst/>
          </a:prstGeom>
        </p:spPr>
        <p:txBody>
          <a:bodyPr wrap="square" lIns="0" tIns="0" rIns="0" bIns="0">
            <a:spAutoFit/>
          </a:bodyPr>
          <a:lstStyle>
            <a:lvl1pPr>
              <a:defRPr sz="7000" b="1" i="0">
                <a:solidFill>
                  <a:srgbClr val="FF8F45"/>
                </a:solidFill>
                <a:latin typeface="Trebuchet MS"/>
                <a:cs typeface="Trebuchet MS"/>
              </a:defRPr>
            </a:lvl1pPr>
          </a:lstStyle>
          <a:p>
            <a:endParaRPr/>
          </a:p>
        </p:txBody>
      </p:sp>
      <p:sp>
        <p:nvSpPr>
          <p:cNvPr id="3" name="Holder 3"/>
          <p:cNvSpPr>
            <a:spLocks noGrp="1"/>
          </p:cNvSpPr>
          <p:nvPr>
            <p:ph type="body" idx="1"/>
          </p:nvPr>
        </p:nvSpPr>
        <p:spPr>
          <a:xfrm>
            <a:off x="6601898" y="1889517"/>
            <a:ext cx="5309446" cy="3255856"/>
          </a:xfrm>
          <a:prstGeom prst="rect">
            <a:avLst/>
          </a:prstGeom>
        </p:spPr>
        <p:txBody>
          <a:bodyPr wrap="square" lIns="0" tIns="0" rIns="0" bIns="0">
            <a:spAutoFit/>
          </a:bodyPr>
          <a:lstStyle>
            <a:lvl1pPr>
              <a:defRPr sz="3200" b="1" i="0">
                <a:solidFill>
                  <a:schemeClr val="tx1"/>
                </a:solidFill>
                <a:latin typeface="Trebuchet MS"/>
                <a:cs typeface="Trebuchet MS"/>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5317" r:id="rId1"/>
    <p:sldLayoutId id="2147485318" r:id="rId2"/>
    <p:sldLayoutId id="2147485319" r:id="rId3"/>
    <p:sldLayoutId id="2147483664" r:id="rId4"/>
    <p:sldLayoutId id="214748532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5.xml"/><Relationship Id="rId4" Type="http://schemas.openxmlformats.org/officeDocument/2006/relationships/image" Target="../media/image73.png"/></Relationships>
</file>

<file path=ppt/slides/_rel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5.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2.png"/><Relationship Id="rId7" Type="http://schemas.openxmlformats.org/officeDocument/2006/relationships/image" Target="../media/image78.png"/><Relationship Id="rId2" Type="http://schemas.openxmlformats.org/officeDocument/2006/relationships/image" Target="../media/image71.png"/><Relationship Id="rId1" Type="http://schemas.openxmlformats.org/officeDocument/2006/relationships/slideLayout" Target="../slideLayouts/slideLayout315.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3.png"/><Relationship Id="rId9"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15.xml"/><Relationship Id="rId4" Type="http://schemas.openxmlformats.org/officeDocument/2006/relationships/image" Target="../media/image84.png"/></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jpeg"/><Relationship Id="rId2" Type="http://schemas.openxmlformats.org/officeDocument/2006/relationships/image" Target="../media/image85.png"/><Relationship Id="rId1" Type="http://schemas.openxmlformats.org/officeDocument/2006/relationships/slideLayout" Target="../slideLayouts/slideLayout315.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en.wikipedia.org/wiki/Midwife" TargetMode="External"/><Relationship Id="rId1" Type="http://schemas.openxmlformats.org/officeDocument/2006/relationships/slideLayout" Target="../slideLayouts/slideLayout315.xml"/><Relationship Id="rId5" Type="http://schemas.openxmlformats.org/officeDocument/2006/relationships/image" Target="../media/image73.png"/><Relationship Id="rId4" Type="http://schemas.openxmlformats.org/officeDocument/2006/relationships/image" Target="../media/image72.png"/></Relationships>
</file>

<file path=ppt/slides/_rels/slide16.xml.rels><?xml version="1.0" encoding="UTF-8" standalone="yes"?>
<Relationships xmlns="http://schemas.openxmlformats.org/package/2006/relationships"><Relationship Id="rId8" Type="http://schemas.openxmlformats.org/officeDocument/2006/relationships/hyperlink" Target="https://docs.google.com/spreadsheets/d/1DUF2isFWsqVSYhbaACYtbgcLi_YjDqpE3GLQIVgkKQg/edit#gid%3D69851113" TargetMode="External"/><Relationship Id="rId3" Type="http://schemas.openxmlformats.org/officeDocument/2006/relationships/image" Target="../media/image92.png"/><Relationship Id="rId7" Type="http://schemas.openxmlformats.org/officeDocument/2006/relationships/image" Target="../media/image93.jpeg"/><Relationship Id="rId2" Type="http://schemas.openxmlformats.org/officeDocument/2006/relationships/image" Target="../media/image91.jpeg"/><Relationship Id="rId1" Type="http://schemas.openxmlformats.org/officeDocument/2006/relationships/slideLayout" Target="../slideLayouts/slideLayout315.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5.xml"/><Relationship Id="rId5" Type="http://schemas.openxmlformats.org/officeDocument/2006/relationships/image" Target="../media/image94.jpe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97.png"/><Relationship Id="rId2" Type="http://schemas.openxmlformats.org/officeDocument/2006/relationships/image" Target="../media/image71.png"/><Relationship Id="rId1" Type="http://schemas.openxmlformats.org/officeDocument/2006/relationships/slideLayout" Target="../slideLayouts/slideLayout315.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5.xml"/><Relationship Id="rId6" Type="http://schemas.openxmlformats.org/officeDocument/2006/relationships/hyperlink" Target="mailto:cbean@doulabean.com" TargetMode="External"/><Relationship Id="rId5" Type="http://schemas.openxmlformats.org/officeDocument/2006/relationships/image" Target="../media/image98.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8.xml"/><Relationship Id="rId1" Type="http://schemas.openxmlformats.org/officeDocument/2006/relationships/slideLayout" Target="../slideLayouts/slideLayout272.xml"/><Relationship Id="rId4" Type="http://schemas.openxmlformats.org/officeDocument/2006/relationships/image" Target="../media/image103.png"/></Relationships>
</file>

<file path=ppt/slides/_rels/slide36.xml.rels><?xml version="1.0" encoding="UTF-8" standalone="yes"?>
<Relationships xmlns="http://schemas.openxmlformats.org/package/2006/relationships"><Relationship Id="rId8" Type="http://schemas.openxmlformats.org/officeDocument/2006/relationships/image" Target="../media/image109.svg"/><Relationship Id="rId13" Type="http://schemas.openxmlformats.org/officeDocument/2006/relationships/image" Target="../media/image114.png"/><Relationship Id="rId18" Type="http://schemas.openxmlformats.org/officeDocument/2006/relationships/image" Target="../media/image119.svg"/><Relationship Id="rId26" Type="http://schemas.openxmlformats.org/officeDocument/2006/relationships/image" Target="../media/image127.svg"/><Relationship Id="rId3" Type="http://schemas.openxmlformats.org/officeDocument/2006/relationships/image" Target="../media/image104.png"/><Relationship Id="rId21" Type="http://schemas.openxmlformats.org/officeDocument/2006/relationships/image" Target="../media/image122.png"/><Relationship Id="rId7" Type="http://schemas.openxmlformats.org/officeDocument/2006/relationships/image" Target="../media/image108.png"/><Relationship Id="rId12" Type="http://schemas.openxmlformats.org/officeDocument/2006/relationships/image" Target="../media/image113.svg"/><Relationship Id="rId17" Type="http://schemas.openxmlformats.org/officeDocument/2006/relationships/image" Target="../media/image118.png"/><Relationship Id="rId25" Type="http://schemas.openxmlformats.org/officeDocument/2006/relationships/image" Target="../media/image126.png"/><Relationship Id="rId2" Type="http://schemas.openxmlformats.org/officeDocument/2006/relationships/notesSlide" Target="../notesSlides/notesSlide9.xml"/><Relationship Id="rId16" Type="http://schemas.openxmlformats.org/officeDocument/2006/relationships/image" Target="../media/image117.svg"/><Relationship Id="rId20" Type="http://schemas.openxmlformats.org/officeDocument/2006/relationships/image" Target="../media/image121.svg"/><Relationship Id="rId29" Type="http://schemas.openxmlformats.org/officeDocument/2006/relationships/image" Target="../media/image130.png"/><Relationship Id="rId1" Type="http://schemas.openxmlformats.org/officeDocument/2006/relationships/slideLayout" Target="../slideLayouts/slideLayout272.xml"/><Relationship Id="rId6" Type="http://schemas.openxmlformats.org/officeDocument/2006/relationships/image" Target="../media/image107.svg"/><Relationship Id="rId11" Type="http://schemas.openxmlformats.org/officeDocument/2006/relationships/image" Target="../media/image112.png"/><Relationship Id="rId24" Type="http://schemas.openxmlformats.org/officeDocument/2006/relationships/image" Target="../media/image125.svg"/><Relationship Id="rId32" Type="http://schemas.openxmlformats.org/officeDocument/2006/relationships/image" Target="../media/image133.svg"/><Relationship Id="rId5" Type="http://schemas.openxmlformats.org/officeDocument/2006/relationships/image" Target="../media/image106.png"/><Relationship Id="rId15" Type="http://schemas.openxmlformats.org/officeDocument/2006/relationships/image" Target="../media/image116.png"/><Relationship Id="rId23" Type="http://schemas.openxmlformats.org/officeDocument/2006/relationships/image" Target="../media/image124.png"/><Relationship Id="rId28" Type="http://schemas.openxmlformats.org/officeDocument/2006/relationships/image" Target="../media/image129.svg"/><Relationship Id="rId10" Type="http://schemas.openxmlformats.org/officeDocument/2006/relationships/image" Target="../media/image111.svg"/><Relationship Id="rId19" Type="http://schemas.openxmlformats.org/officeDocument/2006/relationships/image" Target="../media/image120.png"/><Relationship Id="rId31" Type="http://schemas.openxmlformats.org/officeDocument/2006/relationships/image" Target="../media/image132.png"/><Relationship Id="rId4" Type="http://schemas.openxmlformats.org/officeDocument/2006/relationships/image" Target="../media/image105.svg"/><Relationship Id="rId9" Type="http://schemas.openxmlformats.org/officeDocument/2006/relationships/image" Target="../media/image110.png"/><Relationship Id="rId14" Type="http://schemas.openxmlformats.org/officeDocument/2006/relationships/image" Target="../media/image115.svg"/><Relationship Id="rId22" Type="http://schemas.openxmlformats.org/officeDocument/2006/relationships/image" Target="../media/image123.svg"/><Relationship Id="rId27" Type="http://schemas.openxmlformats.org/officeDocument/2006/relationships/image" Target="../media/image128.png"/><Relationship Id="rId30" Type="http://schemas.openxmlformats.org/officeDocument/2006/relationships/image" Target="../media/image131.sv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38.xml.rels><?xml version="1.0" encoding="UTF-8" standalone="yes"?>
<Relationships xmlns="http://schemas.openxmlformats.org/package/2006/relationships"><Relationship Id="rId3" Type="http://schemas.openxmlformats.org/officeDocument/2006/relationships/image" Target="../media/image134.tiff"/><Relationship Id="rId2" Type="http://schemas.openxmlformats.org/officeDocument/2006/relationships/notesSlide" Target="../notesSlides/notesSlide10.xml"/><Relationship Id="rId1" Type="http://schemas.openxmlformats.org/officeDocument/2006/relationships/slideLayout" Target="../slideLayouts/slideLayout272.xml"/><Relationship Id="rId6" Type="http://schemas.openxmlformats.org/officeDocument/2006/relationships/image" Target="../media/image137.tiff"/><Relationship Id="rId5" Type="http://schemas.openxmlformats.org/officeDocument/2006/relationships/image" Target="../media/image136.tiff"/><Relationship Id="rId4" Type="http://schemas.openxmlformats.org/officeDocument/2006/relationships/image" Target="../media/image135.tiff"/></Relationships>
</file>

<file path=ppt/slides/_rels/slide3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269.xml"/></Relationships>
</file>

<file path=ppt/slides/_rels/slide4.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image" Target="../media/image64.jpeg"/><Relationship Id="rId1" Type="http://schemas.openxmlformats.org/officeDocument/2006/relationships/slideLayout" Target="../slideLayouts/slideLayout284.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xml"/><Relationship Id="rId1" Type="http://schemas.openxmlformats.org/officeDocument/2006/relationships/slideLayout" Target="../slideLayouts/slideLayout277.xml"/><Relationship Id="rId5" Type="http://schemas.openxmlformats.org/officeDocument/2006/relationships/image" Target="../media/image141.png"/><Relationship Id="rId4" Type="http://schemas.openxmlformats.org/officeDocument/2006/relationships/image" Target="../media/image140.png"/></Relationships>
</file>

<file path=ppt/slides/_rels/slide41.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72.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7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7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67.xml"/></Relationships>
</file>

<file path=ppt/slides/_rels/slide47.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72.xml"/></Relationships>
</file>

<file path=ppt/slides/_rels/slide48.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141.xml"/></Relationships>
</file>

<file path=ppt/slides/_rels/slide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image" Target="../media/image64.jpeg"/><Relationship Id="rId1" Type="http://schemas.openxmlformats.org/officeDocument/2006/relationships/slideLayout" Target="../slideLayouts/slideLayout284.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6.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image" Target="../media/image64.jpeg"/><Relationship Id="rId1" Type="http://schemas.openxmlformats.org/officeDocument/2006/relationships/slideLayout" Target="../slideLayouts/slideLayout284.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315.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5.xml"/><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10"/>
        <p:cNvGrpSpPr/>
        <p:nvPr/>
      </p:nvGrpSpPr>
      <p:grpSpPr>
        <a:xfrm>
          <a:off x="0" y="0"/>
          <a:ext cx="0" cy="0"/>
          <a:chOff x="0" y="0"/>
          <a:chExt cx="0" cy="0"/>
        </a:xfrm>
      </p:grpSpPr>
      <p:sp>
        <p:nvSpPr>
          <p:cNvPr id="1511" name="Google Shape;1511;p174"/>
          <p:cNvSpPr txBox="1">
            <a:spLocks noGrp="1"/>
          </p:cNvSpPr>
          <p:nvPr>
            <p:ph type="ctrTitle"/>
          </p:nvPr>
        </p:nvSpPr>
        <p:spPr>
          <a:xfrm>
            <a:off x="1413311" y="2517785"/>
            <a:ext cx="5705374" cy="1826339"/>
          </a:xfrm>
          <a:prstGeom prst="rect">
            <a:avLst/>
          </a:prstGeom>
          <a:noFill/>
          <a:ln>
            <a:noFill/>
          </a:ln>
        </p:spPr>
        <p:txBody>
          <a:bodyPr spcFirstLastPara="1" wrap="square" lIns="91425" tIns="45700" rIns="91425" bIns="45700" anchor="b" anchorCtr="0">
            <a:noAutofit/>
          </a:bodyPr>
          <a:lstStyle/>
          <a:p>
            <a:r>
              <a:rPr lang="en-US" b="0" dirty="0"/>
              <a:t>Doula and Home Visting Services Panel:</a:t>
            </a:r>
            <a:br>
              <a:rPr lang="en-US" b="0" dirty="0"/>
            </a:br>
            <a:r>
              <a:rPr lang="en-US" sz="3200" dirty="0">
                <a:solidFill>
                  <a:srgbClr val="004990"/>
                </a:solidFill>
              </a:rPr>
              <a:t>Building Bridges to Community Partners to Improve Care</a:t>
            </a:r>
          </a:p>
        </p:txBody>
      </p:sp>
    </p:spTree>
    <p:extLst>
      <p:ext uri="{BB962C8B-B14F-4D97-AF65-F5344CB8AC3E}">
        <p14:creationId xmlns:p14="http://schemas.microsoft.com/office/powerpoint/2010/main" val="735433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sp>
        <p:nvSpPr>
          <p:cNvPr id="14" name="object 14"/>
          <p:cNvSpPr txBox="1"/>
          <p:nvPr/>
        </p:nvSpPr>
        <p:spPr>
          <a:xfrm>
            <a:off x="1160028" y="236267"/>
            <a:ext cx="1232323" cy="220133"/>
          </a:xfrm>
          <a:prstGeom prst="rect">
            <a:avLst/>
          </a:prstGeom>
        </p:spPr>
        <p:txBody>
          <a:bodyPr vert="horz" wrap="square" lIns="0" tIns="8467" rIns="0" bIns="0" rtlCol="0">
            <a:spAutoFit/>
          </a:bodyPr>
          <a:lstStyle/>
          <a:p>
            <a:pPr marL="8467">
              <a:lnSpc>
                <a:spcPct val="100000"/>
              </a:lnSpc>
              <a:spcBef>
                <a:spcPts val="67"/>
              </a:spcBef>
            </a:pPr>
            <a:r>
              <a:rPr sz="1333" b="1" spc="-73" dirty="0">
                <a:solidFill>
                  <a:srgbClr val="FF8F45"/>
                </a:solidFill>
                <a:latin typeface="Trebuchet MS"/>
                <a:cs typeface="Trebuchet MS"/>
              </a:rPr>
              <a:t>THE</a:t>
            </a:r>
            <a:r>
              <a:rPr sz="1333" b="1" spc="-63" dirty="0">
                <a:solidFill>
                  <a:srgbClr val="FF8F45"/>
                </a:solidFill>
                <a:latin typeface="Trebuchet MS"/>
                <a:cs typeface="Trebuchet MS"/>
              </a:rPr>
              <a:t> </a:t>
            </a:r>
            <a:r>
              <a:rPr sz="1333" b="1" dirty="0">
                <a:solidFill>
                  <a:srgbClr val="FF8F45"/>
                </a:solidFill>
                <a:latin typeface="Trebuchet MS"/>
                <a:cs typeface="Trebuchet MS"/>
              </a:rPr>
              <a:t>DOULA</a:t>
            </a:r>
            <a:r>
              <a:rPr sz="1333" b="1" spc="-60" dirty="0">
                <a:solidFill>
                  <a:srgbClr val="FF8F45"/>
                </a:solidFill>
                <a:latin typeface="Trebuchet MS"/>
                <a:cs typeface="Trebuchet MS"/>
              </a:rPr>
              <a:t> </a:t>
            </a:r>
            <a:r>
              <a:rPr sz="1333" b="1" spc="-17" dirty="0">
                <a:solidFill>
                  <a:srgbClr val="FF8F45"/>
                </a:solidFill>
                <a:latin typeface="Trebuchet MS"/>
                <a:cs typeface="Trebuchet MS"/>
              </a:rPr>
              <a:t>LAB</a:t>
            </a:r>
            <a:endParaRPr sz="1333">
              <a:latin typeface="Trebuchet MS"/>
              <a:cs typeface="Trebuchet MS"/>
            </a:endParaRPr>
          </a:p>
        </p:txBody>
      </p:sp>
      <p:sp>
        <p:nvSpPr>
          <p:cNvPr id="15" name="object 15"/>
          <p:cNvSpPr txBox="1">
            <a:spLocks noGrp="1"/>
          </p:cNvSpPr>
          <p:nvPr>
            <p:ph type="title"/>
          </p:nvPr>
        </p:nvSpPr>
        <p:spPr>
          <a:xfrm>
            <a:off x="6285855" y="487562"/>
            <a:ext cx="4559300" cy="728133"/>
          </a:xfrm>
          <a:prstGeom prst="rect">
            <a:avLst/>
          </a:prstGeom>
        </p:spPr>
        <p:txBody>
          <a:bodyPr vert="horz" wrap="square" lIns="0" tIns="8467" rIns="0" bIns="0" rtlCol="0">
            <a:spAutoFit/>
          </a:bodyPr>
          <a:lstStyle/>
          <a:p>
            <a:pPr marL="8467">
              <a:lnSpc>
                <a:spcPct val="100000"/>
              </a:lnSpc>
              <a:spcBef>
                <a:spcPts val="67"/>
              </a:spcBef>
            </a:pPr>
            <a:r>
              <a:rPr spc="47" dirty="0"/>
              <a:t>Vision</a:t>
            </a:r>
            <a:r>
              <a:rPr spc="-237" dirty="0"/>
              <a:t> </a:t>
            </a:r>
            <a:r>
              <a:rPr spc="-200" dirty="0"/>
              <a:t>&amp;</a:t>
            </a:r>
            <a:r>
              <a:rPr spc="-233" dirty="0"/>
              <a:t> </a:t>
            </a:r>
            <a:r>
              <a:rPr spc="150" dirty="0"/>
              <a:t>Mission</a:t>
            </a:r>
          </a:p>
        </p:txBody>
      </p:sp>
      <p:sp>
        <p:nvSpPr>
          <p:cNvPr id="16" name="object 16"/>
          <p:cNvSpPr txBox="1"/>
          <p:nvPr/>
        </p:nvSpPr>
        <p:spPr>
          <a:xfrm>
            <a:off x="6285856" y="1221011"/>
            <a:ext cx="5229013" cy="4836160"/>
          </a:xfrm>
          <a:prstGeom prst="rect">
            <a:avLst/>
          </a:prstGeom>
        </p:spPr>
        <p:txBody>
          <a:bodyPr vert="horz" wrap="square" lIns="0" tIns="65617" rIns="0" bIns="0" rtlCol="0">
            <a:spAutoFit/>
          </a:bodyPr>
          <a:lstStyle/>
          <a:p>
            <a:pPr marL="326830">
              <a:lnSpc>
                <a:spcPct val="100000"/>
              </a:lnSpc>
              <a:spcBef>
                <a:spcPts val="517"/>
              </a:spcBef>
            </a:pPr>
            <a:r>
              <a:rPr sz="2000" b="1" spc="37" dirty="0">
                <a:solidFill>
                  <a:srgbClr val="2ABEC1"/>
                </a:solidFill>
                <a:latin typeface="Trebuchet MS"/>
                <a:cs typeface="Trebuchet MS"/>
              </a:rPr>
              <a:t>Share</a:t>
            </a:r>
            <a:r>
              <a:rPr sz="2000" b="1" spc="-73" dirty="0">
                <a:solidFill>
                  <a:srgbClr val="2ABEC1"/>
                </a:solidFill>
                <a:latin typeface="Trebuchet MS"/>
                <a:cs typeface="Trebuchet MS"/>
              </a:rPr>
              <a:t> </a:t>
            </a:r>
            <a:r>
              <a:rPr sz="2000" b="1" dirty="0">
                <a:solidFill>
                  <a:srgbClr val="2ABEC1"/>
                </a:solidFill>
                <a:latin typeface="Trebuchet MS"/>
                <a:cs typeface="Trebuchet MS"/>
              </a:rPr>
              <a:t>And</a:t>
            </a:r>
            <a:r>
              <a:rPr sz="2000" b="1" spc="-73" dirty="0">
                <a:solidFill>
                  <a:srgbClr val="2ABEC1"/>
                </a:solidFill>
                <a:latin typeface="Trebuchet MS"/>
                <a:cs typeface="Trebuchet MS"/>
              </a:rPr>
              <a:t> </a:t>
            </a:r>
            <a:r>
              <a:rPr sz="2000" b="1" spc="50" dirty="0">
                <a:solidFill>
                  <a:srgbClr val="2ABEC1"/>
                </a:solidFill>
                <a:latin typeface="Trebuchet MS"/>
                <a:cs typeface="Trebuchet MS"/>
              </a:rPr>
              <a:t>Send</a:t>
            </a:r>
            <a:r>
              <a:rPr sz="2000" b="1" spc="-70" dirty="0">
                <a:solidFill>
                  <a:srgbClr val="2ABEC1"/>
                </a:solidFill>
                <a:latin typeface="Trebuchet MS"/>
                <a:cs typeface="Trebuchet MS"/>
              </a:rPr>
              <a:t> </a:t>
            </a:r>
            <a:r>
              <a:rPr sz="2000" b="1" spc="-7" dirty="0">
                <a:solidFill>
                  <a:srgbClr val="2ABEC1"/>
                </a:solidFill>
                <a:latin typeface="Trebuchet MS"/>
                <a:cs typeface="Trebuchet MS"/>
              </a:rPr>
              <a:t>Smiles.</a:t>
            </a:r>
            <a:endParaRPr sz="2000">
              <a:latin typeface="Trebuchet MS"/>
              <a:cs typeface="Trebuchet MS"/>
            </a:endParaRPr>
          </a:p>
          <a:p>
            <a:pPr marL="8467">
              <a:lnSpc>
                <a:spcPct val="100000"/>
              </a:lnSpc>
              <a:spcBef>
                <a:spcPts val="450"/>
              </a:spcBef>
            </a:pPr>
            <a:r>
              <a:rPr sz="2000" b="1" spc="-7" dirty="0">
                <a:solidFill>
                  <a:srgbClr val="FF8F45"/>
                </a:solidFill>
                <a:latin typeface="Trebuchet MS"/>
                <a:cs typeface="Trebuchet MS"/>
              </a:rPr>
              <a:t>Vision</a:t>
            </a:r>
            <a:endParaRPr sz="2000">
              <a:latin typeface="Trebuchet MS"/>
              <a:cs typeface="Trebuchet MS"/>
            </a:endParaRPr>
          </a:p>
          <a:p>
            <a:pPr marL="8467" marR="162568" algn="just">
              <a:lnSpc>
                <a:spcPct val="116500"/>
              </a:lnSpc>
              <a:spcBef>
                <a:spcPts val="647"/>
              </a:spcBef>
            </a:pPr>
            <a:r>
              <a:rPr sz="1467" dirty="0">
                <a:latin typeface="Arial Black"/>
                <a:cs typeface="Arial Black"/>
              </a:rPr>
              <a:t>Our</a:t>
            </a:r>
            <a:r>
              <a:rPr sz="1467" spc="63" dirty="0">
                <a:latin typeface="Arial Black"/>
                <a:cs typeface="Arial Black"/>
              </a:rPr>
              <a:t> </a:t>
            </a:r>
            <a:r>
              <a:rPr sz="1467" spc="-17" dirty="0">
                <a:latin typeface="Arial Black"/>
                <a:cs typeface="Arial Black"/>
              </a:rPr>
              <a:t>vision</a:t>
            </a:r>
            <a:r>
              <a:rPr sz="1467" spc="63" dirty="0">
                <a:latin typeface="Arial Black"/>
                <a:cs typeface="Arial Black"/>
              </a:rPr>
              <a:t> </a:t>
            </a:r>
            <a:r>
              <a:rPr sz="1467" dirty="0">
                <a:latin typeface="Arial Black"/>
                <a:cs typeface="Arial Black"/>
              </a:rPr>
              <a:t>is</a:t>
            </a:r>
            <a:r>
              <a:rPr sz="1467" spc="63" dirty="0">
                <a:latin typeface="Arial Black"/>
                <a:cs typeface="Arial Black"/>
              </a:rPr>
              <a:t> </a:t>
            </a:r>
            <a:r>
              <a:rPr sz="1467" dirty="0">
                <a:latin typeface="Arial Black"/>
                <a:cs typeface="Arial Black"/>
              </a:rPr>
              <a:t>to</a:t>
            </a:r>
            <a:r>
              <a:rPr sz="1467" spc="63" dirty="0">
                <a:latin typeface="Arial Black"/>
                <a:cs typeface="Arial Black"/>
              </a:rPr>
              <a:t> </a:t>
            </a:r>
            <a:r>
              <a:rPr sz="1467" dirty="0">
                <a:latin typeface="Arial Black"/>
                <a:cs typeface="Arial Black"/>
              </a:rPr>
              <a:t>put</a:t>
            </a:r>
            <a:r>
              <a:rPr sz="1467" spc="63" dirty="0">
                <a:latin typeface="Arial Black"/>
                <a:cs typeface="Arial Black"/>
              </a:rPr>
              <a:t> </a:t>
            </a:r>
            <a:r>
              <a:rPr sz="1467" dirty="0">
                <a:latin typeface="Arial Black"/>
                <a:cs typeface="Arial Black"/>
              </a:rPr>
              <a:t>an</a:t>
            </a:r>
            <a:r>
              <a:rPr sz="1467" spc="63" dirty="0">
                <a:latin typeface="Arial Black"/>
                <a:cs typeface="Arial Black"/>
              </a:rPr>
              <a:t> </a:t>
            </a:r>
            <a:r>
              <a:rPr sz="1467" dirty="0">
                <a:latin typeface="Arial Black"/>
                <a:cs typeface="Arial Black"/>
              </a:rPr>
              <a:t>end</a:t>
            </a:r>
            <a:r>
              <a:rPr sz="1467" spc="63" dirty="0">
                <a:latin typeface="Arial Black"/>
                <a:cs typeface="Arial Black"/>
              </a:rPr>
              <a:t> </a:t>
            </a:r>
            <a:r>
              <a:rPr sz="1467" dirty="0">
                <a:latin typeface="Arial Black"/>
                <a:cs typeface="Arial Black"/>
              </a:rPr>
              <a:t>to</a:t>
            </a:r>
            <a:r>
              <a:rPr sz="1467" spc="63" dirty="0">
                <a:latin typeface="Arial Black"/>
                <a:cs typeface="Arial Black"/>
              </a:rPr>
              <a:t> </a:t>
            </a:r>
            <a:r>
              <a:rPr sz="1467" dirty="0">
                <a:latin typeface="Arial Black"/>
                <a:cs typeface="Arial Black"/>
              </a:rPr>
              <a:t>the</a:t>
            </a:r>
            <a:r>
              <a:rPr sz="1467" spc="63" dirty="0">
                <a:latin typeface="Arial Black"/>
                <a:cs typeface="Arial Black"/>
              </a:rPr>
              <a:t> </a:t>
            </a:r>
            <a:r>
              <a:rPr sz="1467" spc="-13" dirty="0">
                <a:latin typeface="Arial Black"/>
                <a:cs typeface="Arial Black"/>
              </a:rPr>
              <a:t>maternal</a:t>
            </a:r>
            <a:r>
              <a:rPr sz="1467" spc="63" dirty="0">
                <a:latin typeface="Arial Black"/>
                <a:cs typeface="Arial Black"/>
              </a:rPr>
              <a:t> </a:t>
            </a:r>
            <a:r>
              <a:rPr sz="1467" spc="-20" dirty="0">
                <a:latin typeface="Arial Black"/>
                <a:cs typeface="Arial Black"/>
              </a:rPr>
              <a:t>health </a:t>
            </a:r>
            <a:r>
              <a:rPr sz="1467" spc="-107" dirty="0">
                <a:latin typeface="Arial Black"/>
                <a:cs typeface="Arial Black"/>
              </a:rPr>
              <a:t>crisis</a:t>
            </a:r>
            <a:r>
              <a:rPr sz="1467" spc="-17" dirty="0">
                <a:latin typeface="Arial Black"/>
                <a:cs typeface="Arial Black"/>
              </a:rPr>
              <a:t> </a:t>
            </a:r>
            <a:r>
              <a:rPr sz="1467" dirty="0">
                <a:latin typeface="Arial Black"/>
                <a:cs typeface="Arial Black"/>
              </a:rPr>
              <a:t>in</a:t>
            </a:r>
            <a:r>
              <a:rPr sz="1467" spc="-123" dirty="0">
                <a:latin typeface="Arial Black"/>
                <a:cs typeface="Arial Black"/>
              </a:rPr>
              <a:t> </a:t>
            </a:r>
            <a:r>
              <a:rPr sz="1467" dirty="0">
                <a:latin typeface="Arial Black"/>
                <a:cs typeface="Arial Black"/>
              </a:rPr>
              <a:t>our</a:t>
            </a:r>
            <a:r>
              <a:rPr sz="1467" spc="-67" dirty="0">
                <a:latin typeface="Arial Black"/>
                <a:cs typeface="Arial Black"/>
              </a:rPr>
              <a:t> </a:t>
            </a:r>
            <a:r>
              <a:rPr sz="1467" spc="-73" dirty="0">
                <a:latin typeface="Arial Black"/>
                <a:cs typeface="Arial Black"/>
              </a:rPr>
              <a:t>communities</a:t>
            </a:r>
            <a:r>
              <a:rPr sz="1467" spc="-50" dirty="0">
                <a:latin typeface="Arial Black"/>
                <a:cs typeface="Arial Black"/>
              </a:rPr>
              <a:t> </a:t>
            </a:r>
            <a:r>
              <a:rPr sz="1467" spc="-33" dirty="0">
                <a:latin typeface="Arial Black"/>
                <a:cs typeface="Arial Black"/>
              </a:rPr>
              <a:t>due</a:t>
            </a:r>
            <a:r>
              <a:rPr sz="1467" spc="-53" dirty="0">
                <a:latin typeface="Arial Black"/>
                <a:cs typeface="Arial Black"/>
              </a:rPr>
              <a:t> </a:t>
            </a:r>
            <a:r>
              <a:rPr sz="1467" dirty="0">
                <a:latin typeface="Arial Black"/>
                <a:cs typeface="Arial Black"/>
              </a:rPr>
              <a:t>to</a:t>
            </a:r>
            <a:r>
              <a:rPr sz="1467" spc="-53" dirty="0">
                <a:latin typeface="Arial Black"/>
                <a:cs typeface="Arial Black"/>
              </a:rPr>
              <a:t> </a:t>
            </a:r>
            <a:r>
              <a:rPr sz="1467" spc="-23" dirty="0">
                <a:latin typeface="Arial Black"/>
                <a:cs typeface="Arial Black"/>
              </a:rPr>
              <a:t>the</a:t>
            </a:r>
            <a:r>
              <a:rPr sz="1467" spc="-53" dirty="0">
                <a:latin typeface="Arial Black"/>
                <a:cs typeface="Arial Black"/>
              </a:rPr>
              <a:t> </a:t>
            </a:r>
            <a:r>
              <a:rPr sz="1467" spc="-110" dirty="0">
                <a:latin typeface="Arial Black"/>
                <a:cs typeface="Arial Black"/>
              </a:rPr>
              <a:t>lack</a:t>
            </a:r>
            <a:r>
              <a:rPr sz="1467" spc="-13" dirty="0">
                <a:latin typeface="Arial Black"/>
                <a:cs typeface="Arial Black"/>
              </a:rPr>
              <a:t> </a:t>
            </a:r>
            <a:r>
              <a:rPr sz="1467" dirty="0">
                <a:latin typeface="Arial Black"/>
                <a:cs typeface="Arial Black"/>
              </a:rPr>
              <a:t>of</a:t>
            </a:r>
            <a:r>
              <a:rPr sz="1467" spc="-53" dirty="0">
                <a:latin typeface="Arial Black"/>
                <a:cs typeface="Arial Black"/>
              </a:rPr>
              <a:t> </a:t>
            </a:r>
            <a:r>
              <a:rPr sz="1467" spc="-30" dirty="0">
                <a:latin typeface="Arial Black"/>
                <a:cs typeface="Arial Black"/>
              </a:rPr>
              <a:t>maternal </a:t>
            </a:r>
            <a:r>
              <a:rPr sz="1467" spc="-47" dirty="0">
                <a:latin typeface="Arial Black"/>
                <a:cs typeface="Arial Black"/>
              </a:rPr>
              <a:t>health</a:t>
            </a:r>
            <a:r>
              <a:rPr sz="1467" spc="-76" dirty="0">
                <a:latin typeface="Arial Black"/>
                <a:cs typeface="Arial Black"/>
              </a:rPr>
              <a:t> </a:t>
            </a:r>
            <a:r>
              <a:rPr sz="1467" spc="-97" dirty="0">
                <a:latin typeface="Arial Black"/>
                <a:cs typeface="Arial Black"/>
              </a:rPr>
              <a:t>resources.</a:t>
            </a:r>
            <a:r>
              <a:rPr sz="1467" spc="-27" dirty="0">
                <a:latin typeface="Arial Black"/>
                <a:cs typeface="Arial Black"/>
              </a:rPr>
              <a:t> </a:t>
            </a:r>
            <a:r>
              <a:rPr sz="1467" spc="-120" dirty="0">
                <a:latin typeface="Arial Black"/>
                <a:cs typeface="Arial Black"/>
              </a:rPr>
              <a:t>St.</a:t>
            </a:r>
            <a:r>
              <a:rPr sz="1467" spc="-3" dirty="0">
                <a:latin typeface="Arial Black"/>
                <a:cs typeface="Arial Black"/>
              </a:rPr>
              <a:t> </a:t>
            </a:r>
            <a:r>
              <a:rPr sz="1467" spc="-73" dirty="0">
                <a:latin typeface="Arial Black"/>
                <a:cs typeface="Arial Black"/>
              </a:rPr>
              <a:t>Clair</a:t>
            </a:r>
            <a:r>
              <a:rPr sz="1467" spc="-50" dirty="0">
                <a:latin typeface="Arial Black"/>
                <a:cs typeface="Arial Black"/>
              </a:rPr>
              <a:t> </a:t>
            </a:r>
            <a:r>
              <a:rPr sz="1467" spc="-67" dirty="0">
                <a:latin typeface="Arial Black"/>
                <a:cs typeface="Arial Black"/>
              </a:rPr>
              <a:t>County,</a:t>
            </a:r>
            <a:r>
              <a:rPr sz="1467" spc="-57" dirty="0">
                <a:latin typeface="Arial Black"/>
                <a:cs typeface="Arial Black"/>
              </a:rPr>
              <a:t> </a:t>
            </a:r>
            <a:r>
              <a:rPr sz="1467" spc="-100" dirty="0">
                <a:latin typeface="Arial Black"/>
                <a:cs typeface="Arial Black"/>
              </a:rPr>
              <a:t>IL,</a:t>
            </a:r>
            <a:r>
              <a:rPr sz="1467" spc="-23" dirty="0">
                <a:latin typeface="Arial Black"/>
                <a:cs typeface="Arial Black"/>
              </a:rPr>
              <a:t> </a:t>
            </a:r>
            <a:r>
              <a:rPr sz="1467" spc="-30" dirty="0">
                <a:latin typeface="Arial Black"/>
                <a:cs typeface="Arial Black"/>
              </a:rPr>
              <a:t>and</a:t>
            </a:r>
            <a:r>
              <a:rPr sz="1467" spc="-53" dirty="0">
                <a:latin typeface="Arial Black"/>
                <a:cs typeface="Arial Black"/>
              </a:rPr>
              <a:t> </a:t>
            </a:r>
            <a:r>
              <a:rPr sz="1467" spc="-40" dirty="0">
                <a:latin typeface="Arial Black"/>
                <a:cs typeface="Arial Black"/>
              </a:rPr>
              <a:t>many </a:t>
            </a:r>
            <a:r>
              <a:rPr sz="1467" spc="-7" dirty="0">
                <a:latin typeface="Arial Black"/>
                <a:cs typeface="Arial Black"/>
              </a:rPr>
              <a:t>other </a:t>
            </a:r>
            <a:r>
              <a:rPr sz="1467" dirty="0">
                <a:latin typeface="Arial Black"/>
                <a:cs typeface="Arial Black"/>
              </a:rPr>
              <a:t>surrounding</a:t>
            </a:r>
            <a:r>
              <a:rPr sz="1467" spc="-33" dirty="0">
                <a:latin typeface="Arial Black"/>
                <a:cs typeface="Arial Black"/>
              </a:rPr>
              <a:t>  </a:t>
            </a:r>
            <a:r>
              <a:rPr sz="1467" dirty="0">
                <a:latin typeface="Arial Black"/>
                <a:cs typeface="Arial Black"/>
              </a:rPr>
              <a:t>countries</a:t>
            </a:r>
            <a:r>
              <a:rPr sz="1467" spc="-30" dirty="0">
                <a:latin typeface="Arial Black"/>
                <a:cs typeface="Arial Black"/>
              </a:rPr>
              <a:t>  </a:t>
            </a:r>
            <a:r>
              <a:rPr sz="1467" dirty="0">
                <a:latin typeface="Arial Black"/>
                <a:cs typeface="Arial Black"/>
              </a:rPr>
              <a:t>are</a:t>
            </a:r>
            <a:r>
              <a:rPr sz="1467" spc="-33" dirty="0">
                <a:latin typeface="Arial Black"/>
                <a:cs typeface="Arial Black"/>
              </a:rPr>
              <a:t>  </a:t>
            </a:r>
            <a:r>
              <a:rPr sz="1467" dirty="0">
                <a:latin typeface="Arial Black"/>
                <a:cs typeface="Arial Black"/>
              </a:rPr>
              <a:t>in</a:t>
            </a:r>
            <a:r>
              <a:rPr sz="1467" spc="-30" dirty="0">
                <a:latin typeface="Arial Black"/>
                <a:cs typeface="Arial Black"/>
              </a:rPr>
              <a:t>  </a:t>
            </a:r>
            <a:r>
              <a:rPr sz="1467" dirty="0">
                <a:latin typeface="Arial Black"/>
                <a:cs typeface="Arial Black"/>
              </a:rPr>
              <a:t>a</a:t>
            </a:r>
            <a:r>
              <a:rPr sz="1467" spc="-33" dirty="0">
                <a:latin typeface="Arial Black"/>
                <a:cs typeface="Arial Black"/>
              </a:rPr>
              <a:t>  </a:t>
            </a:r>
            <a:r>
              <a:rPr sz="1467" dirty="0">
                <a:latin typeface="Arial Black"/>
                <a:cs typeface="Arial Black"/>
              </a:rPr>
              <a:t>maternal</a:t>
            </a:r>
            <a:r>
              <a:rPr sz="1467" spc="-30" dirty="0">
                <a:latin typeface="Arial Black"/>
                <a:cs typeface="Arial Black"/>
              </a:rPr>
              <a:t>  </a:t>
            </a:r>
            <a:r>
              <a:rPr sz="1467" spc="-20" dirty="0">
                <a:latin typeface="Arial Black"/>
                <a:cs typeface="Arial Black"/>
              </a:rPr>
              <a:t>health </a:t>
            </a:r>
            <a:r>
              <a:rPr sz="1467" spc="-7" dirty="0">
                <a:latin typeface="Arial Black"/>
                <a:cs typeface="Arial Black"/>
              </a:rPr>
              <a:t>desert.</a:t>
            </a:r>
            <a:r>
              <a:rPr sz="1467" spc="133" dirty="0">
                <a:latin typeface="Arial Black"/>
                <a:cs typeface="Arial Black"/>
              </a:rPr>
              <a:t> </a:t>
            </a:r>
            <a:r>
              <a:rPr sz="1467" dirty="0">
                <a:latin typeface="Arial Black"/>
                <a:cs typeface="Arial Black"/>
              </a:rPr>
              <a:t>We</a:t>
            </a:r>
            <a:r>
              <a:rPr sz="1467" spc="136" dirty="0">
                <a:latin typeface="Arial Black"/>
                <a:cs typeface="Arial Black"/>
              </a:rPr>
              <a:t> </a:t>
            </a:r>
            <a:r>
              <a:rPr sz="1467" dirty="0">
                <a:latin typeface="Arial Black"/>
                <a:cs typeface="Arial Black"/>
              </a:rPr>
              <a:t>want</a:t>
            </a:r>
            <a:r>
              <a:rPr sz="1467" spc="136" dirty="0">
                <a:latin typeface="Arial Black"/>
                <a:cs typeface="Arial Black"/>
              </a:rPr>
              <a:t> </a:t>
            </a:r>
            <a:r>
              <a:rPr sz="1467" dirty="0">
                <a:latin typeface="Arial Black"/>
                <a:cs typeface="Arial Black"/>
              </a:rPr>
              <a:t>to</a:t>
            </a:r>
            <a:r>
              <a:rPr sz="1467" spc="136" dirty="0">
                <a:latin typeface="Arial Black"/>
                <a:cs typeface="Arial Black"/>
              </a:rPr>
              <a:t> </a:t>
            </a:r>
            <a:r>
              <a:rPr sz="1467" dirty="0">
                <a:latin typeface="Arial Black"/>
                <a:cs typeface="Arial Black"/>
              </a:rPr>
              <a:t>provide</a:t>
            </a:r>
            <a:r>
              <a:rPr sz="1467" spc="133" dirty="0">
                <a:latin typeface="Arial Black"/>
                <a:cs typeface="Arial Black"/>
              </a:rPr>
              <a:t> </a:t>
            </a:r>
            <a:r>
              <a:rPr sz="1467" spc="-50" dirty="0">
                <a:latin typeface="Arial Black"/>
                <a:cs typeface="Arial Black"/>
              </a:rPr>
              <a:t>resources</a:t>
            </a:r>
            <a:r>
              <a:rPr sz="1467" spc="136" dirty="0">
                <a:latin typeface="Arial Black"/>
                <a:cs typeface="Arial Black"/>
              </a:rPr>
              <a:t> </a:t>
            </a:r>
            <a:r>
              <a:rPr sz="1467" dirty="0">
                <a:latin typeface="Arial Black"/>
                <a:cs typeface="Arial Black"/>
              </a:rPr>
              <a:t>for</a:t>
            </a:r>
            <a:r>
              <a:rPr sz="1467" spc="136" dirty="0">
                <a:latin typeface="Arial Black"/>
                <a:cs typeface="Arial Black"/>
              </a:rPr>
              <a:t> </a:t>
            </a:r>
            <a:r>
              <a:rPr sz="1467" spc="-17" dirty="0">
                <a:latin typeface="Arial Black"/>
                <a:cs typeface="Arial Black"/>
              </a:rPr>
              <a:t>birthing </a:t>
            </a:r>
            <a:r>
              <a:rPr sz="1467" spc="-80" dirty="0">
                <a:latin typeface="Arial Black"/>
                <a:cs typeface="Arial Black"/>
              </a:rPr>
              <a:t>families</a:t>
            </a:r>
            <a:r>
              <a:rPr sz="1467" spc="-50" dirty="0">
                <a:latin typeface="Arial Black"/>
                <a:cs typeface="Arial Black"/>
              </a:rPr>
              <a:t> </a:t>
            </a:r>
            <a:r>
              <a:rPr sz="1467" spc="-113" dirty="0">
                <a:latin typeface="Arial Black"/>
                <a:cs typeface="Arial Black"/>
              </a:rPr>
              <a:t>especially</a:t>
            </a:r>
            <a:r>
              <a:rPr sz="1467" spc="-10" dirty="0">
                <a:latin typeface="Arial Black"/>
                <a:cs typeface="Arial Black"/>
              </a:rPr>
              <a:t> </a:t>
            </a:r>
            <a:r>
              <a:rPr sz="1467" spc="-100" dirty="0">
                <a:latin typeface="Arial Black"/>
                <a:cs typeface="Arial Black"/>
              </a:rPr>
              <a:t>those</a:t>
            </a:r>
            <a:r>
              <a:rPr sz="1467" spc="-23" dirty="0">
                <a:latin typeface="Arial Black"/>
                <a:cs typeface="Arial Black"/>
              </a:rPr>
              <a:t> </a:t>
            </a:r>
            <a:r>
              <a:rPr sz="1467" spc="-60" dirty="0">
                <a:latin typeface="Arial Black"/>
                <a:cs typeface="Arial Black"/>
              </a:rPr>
              <a:t>of</a:t>
            </a:r>
            <a:r>
              <a:rPr sz="1467" spc="-63" dirty="0">
                <a:latin typeface="Arial Black"/>
                <a:cs typeface="Arial Black"/>
              </a:rPr>
              <a:t> </a:t>
            </a:r>
            <a:r>
              <a:rPr sz="1467" spc="-97" dirty="0">
                <a:latin typeface="Arial Black"/>
                <a:cs typeface="Arial Black"/>
              </a:rPr>
              <a:t>color</a:t>
            </a:r>
            <a:r>
              <a:rPr sz="1467" spc="-27" dirty="0">
                <a:latin typeface="Arial Black"/>
                <a:cs typeface="Arial Black"/>
              </a:rPr>
              <a:t> </a:t>
            </a:r>
            <a:r>
              <a:rPr sz="1467" spc="-76" dirty="0">
                <a:latin typeface="Arial Black"/>
                <a:cs typeface="Arial Black"/>
              </a:rPr>
              <a:t>to</a:t>
            </a:r>
            <a:r>
              <a:rPr sz="1467" spc="-37" dirty="0">
                <a:latin typeface="Arial Black"/>
                <a:cs typeface="Arial Black"/>
              </a:rPr>
              <a:t> </a:t>
            </a:r>
            <a:r>
              <a:rPr sz="1467" spc="-53" dirty="0">
                <a:latin typeface="Arial Black"/>
                <a:cs typeface="Arial Black"/>
              </a:rPr>
              <a:t>thrive</a:t>
            </a:r>
            <a:r>
              <a:rPr sz="1467" spc="-33" dirty="0">
                <a:latin typeface="Arial Black"/>
                <a:cs typeface="Arial Black"/>
              </a:rPr>
              <a:t> </a:t>
            </a:r>
            <a:r>
              <a:rPr sz="1467" spc="-80" dirty="0">
                <a:latin typeface="Arial Black"/>
                <a:cs typeface="Arial Black"/>
              </a:rPr>
              <a:t>and</a:t>
            </a:r>
            <a:r>
              <a:rPr sz="1467" spc="-33" dirty="0">
                <a:latin typeface="Arial Black"/>
                <a:cs typeface="Arial Black"/>
              </a:rPr>
              <a:t> </a:t>
            </a:r>
            <a:r>
              <a:rPr sz="1467" spc="-53" dirty="0">
                <a:latin typeface="Arial Black"/>
                <a:cs typeface="Arial Black"/>
              </a:rPr>
              <a:t>not</a:t>
            </a:r>
            <a:r>
              <a:rPr sz="1467" spc="-33" dirty="0">
                <a:latin typeface="Arial Black"/>
                <a:cs typeface="Arial Black"/>
              </a:rPr>
              <a:t> </a:t>
            </a:r>
            <a:r>
              <a:rPr sz="1467" spc="-13" dirty="0">
                <a:latin typeface="Arial Black"/>
                <a:cs typeface="Arial Black"/>
              </a:rPr>
              <a:t>just </a:t>
            </a:r>
            <a:r>
              <a:rPr sz="1467" spc="-7" dirty="0">
                <a:latin typeface="Arial Black"/>
                <a:cs typeface="Arial Black"/>
              </a:rPr>
              <a:t>survive.</a:t>
            </a:r>
            <a:endParaRPr sz="1467">
              <a:latin typeface="Arial Black"/>
              <a:cs typeface="Arial Black"/>
            </a:endParaRPr>
          </a:p>
          <a:p>
            <a:pPr>
              <a:lnSpc>
                <a:spcPct val="100000"/>
              </a:lnSpc>
              <a:spcBef>
                <a:spcPts val="289"/>
              </a:spcBef>
            </a:pPr>
            <a:endParaRPr sz="1467">
              <a:latin typeface="Arial Black"/>
              <a:cs typeface="Arial Black"/>
            </a:endParaRPr>
          </a:p>
          <a:p>
            <a:pPr marL="8467">
              <a:lnSpc>
                <a:spcPct val="100000"/>
              </a:lnSpc>
            </a:pPr>
            <a:r>
              <a:rPr sz="2000" b="1" spc="57" dirty="0">
                <a:solidFill>
                  <a:srgbClr val="2ABEC1"/>
                </a:solidFill>
                <a:latin typeface="Trebuchet MS"/>
                <a:cs typeface="Trebuchet MS"/>
              </a:rPr>
              <a:t>Mission</a:t>
            </a:r>
            <a:endParaRPr sz="2000">
              <a:latin typeface="Trebuchet MS"/>
              <a:cs typeface="Trebuchet MS"/>
            </a:endParaRPr>
          </a:p>
          <a:p>
            <a:pPr marL="8467" marR="3387" algn="just">
              <a:lnSpc>
                <a:spcPct val="114999"/>
              </a:lnSpc>
              <a:spcBef>
                <a:spcPts val="990"/>
              </a:spcBef>
            </a:pPr>
            <a:r>
              <a:rPr sz="1667" b="1" dirty="0">
                <a:latin typeface="Trebuchet MS"/>
                <a:cs typeface="Trebuchet MS"/>
              </a:rPr>
              <a:t>The</a:t>
            </a:r>
            <a:r>
              <a:rPr sz="1667" b="1" spc="270" dirty="0">
                <a:latin typeface="Trebuchet MS"/>
                <a:cs typeface="Trebuchet MS"/>
              </a:rPr>
              <a:t> </a:t>
            </a:r>
            <a:r>
              <a:rPr sz="1667" b="1" dirty="0">
                <a:latin typeface="Trebuchet MS"/>
                <a:cs typeface="Trebuchet MS"/>
              </a:rPr>
              <a:t>mission</a:t>
            </a:r>
            <a:r>
              <a:rPr sz="1667" b="1" spc="273" dirty="0">
                <a:latin typeface="Trebuchet MS"/>
                <a:cs typeface="Trebuchet MS"/>
              </a:rPr>
              <a:t> </a:t>
            </a:r>
            <a:r>
              <a:rPr sz="1667" b="1" dirty="0">
                <a:latin typeface="Trebuchet MS"/>
                <a:cs typeface="Trebuchet MS"/>
              </a:rPr>
              <a:t>of</a:t>
            </a:r>
            <a:r>
              <a:rPr sz="1667" b="1" spc="273" dirty="0">
                <a:latin typeface="Trebuchet MS"/>
                <a:cs typeface="Trebuchet MS"/>
              </a:rPr>
              <a:t> </a:t>
            </a:r>
            <a:r>
              <a:rPr sz="1667" b="1" dirty="0">
                <a:latin typeface="Trebuchet MS"/>
                <a:cs typeface="Trebuchet MS"/>
              </a:rPr>
              <a:t>The</a:t>
            </a:r>
            <a:r>
              <a:rPr sz="1667" b="1" spc="270" dirty="0">
                <a:latin typeface="Trebuchet MS"/>
                <a:cs typeface="Trebuchet MS"/>
              </a:rPr>
              <a:t> </a:t>
            </a:r>
            <a:r>
              <a:rPr sz="1667" b="1" dirty="0">
                <a:latin typeface="Trebuchet MS"/>
                <a:cs typeface="Trebuchet MS"/>
              </a:rPr>
              <a:t>Doula</a:t>
            </a:r>
            <a:r>
              <a:rPr sz="1667" b="1" spc="273" dirty="0">
                <a:latin typeface="Trebuchet MS"/>
                <a:cs typeface="Trebuchet MS"/>
              </a:rPr>
              <a:t> </a:t>
            </a:r>
            <a:r>
              <a:rPr sz="1667" b="1" dirty="0">
                <a:latin typeface="Trebuchet MS"/>
                <a:cs typeface="Trebuchet MS"/>
              </a:rPr>
              <a:t>Lab</a:t>
            </a:r>
            <a:r>
              <a:rPr sz="1667" b="1" spc="270" dirty="0">
                <a:latin typeface="Trebuchet MS"/>
                <a:cs typeface="Trebuchet MS"/>
              </a:rPr>
              <a:t> </a:t>
            </a:r>
            <a:r>
              <a:rPr sz="1667" b="1" dirty="0">
                <a:latin typeface="Trebuchet MS"/>
                <a:cs typeface="Trebuchet MS"/>
              </a:rPr>
              <a:t>pregnancy</a:t>
            </a:r>
            <a:r>
              <a:rPr sz="1667" b="1" spc="273" dirty="0">
                <a:latin typeface="Trebuchet MS"/>
                <a:cs typeface="Trebuchet MS"/>
              </a:rPr>
              <a:t> </a:t>
            </a:r>
            <a:r>
              <a:rPr sz="1667" b="1" spc="-7" dirty="0">
                <a:latin typeface="Trebuchet MS"/>
                <a:cs typeface="Trebuchet MS"/>
              </a:rPr>
              <a:t>resource </a:t>
            </a:r>
            <a:r>
              <a:rPr sz="1667" b="1" dirty="0">
                <a:latin typeface="Trebuchet MS"/>
                <a:cs typeface="Trebuchet MS"/>
              </a:rPr>
              <a:t>center</a:t>
            </a:r>
            <a:r>
              <a:rPr sz="1667" b="1" spc="213" dirty="0">
                <a:latin typeface="Trebuchet MS"/>
                <a:cs typeface="Trebuchet MS"/>
              </a:rPr>
              <a:t>  </a:t>
            </a:r>
            <a:r>
              <a:rPr sz="1667" b="1" spc="40" dirty="0">
                <a:latin typeface="Trebuchet MS"/>
                <a:cs typeface="Trebuchet MS"/>
              </a:rPr>
              <a:t>is</a:t>
            </a:r>
            <a:r>
              <a:rPr sz="1667" b="1" spc="213" dirty="0">
                <a:latin typeface="Trebuchet MS"/>
                <a:cs typeface="Trebuchet MS"/>
              </a:rPr>
              <a:t>  </a:t>
            </a:r>
            <a:r>
              <a:rPr sz="1667" b="1" dirty="0">
                <a:latin typeface="Trebuchet MS"/>
                <a:cs typeface="Trebuchet MS"/>
              </a:rPr>
              <a:t>to</a:t>
            </a:r>
            <a:r>
              <a:rPr sz="1667" b="1" spc="213" dirty="0">
                <a:latin typeface="Trebuchet MS"/>
                <a:cs typeface="Trebuchet MS"/>
              </a:rPr>
              <a:t>  </a:t>
            </a:r>
            <a:r>
              <a:rPr sz="1667" b="1" dirty="0">
                <a:latin typeface="Trebuchet MS"/>
                <a:cs typeface="Trebuchet MS"/>
              </a:rPr>
              <a:t>significantly</a:t>
            </a:r>
            <a:r>
              <a:rPr sz="1667" b="1" spc="213" dirty="0">
                <a:latin typeface="Trebuchet MS"/>
                <a:cs typeface="Trebuchet MS"/>
              </a:rPr>
              <a:t>  </a:t>
            </a:r>
            <a:r>
              <a:rPr sz="1667" b="1" dirty="0">
                <a:latin typeface="Trebuchet MS"/>
                <a:cs typeface="Trebuchet MS"/>
              </a:rPr>
              <a:t>improve</a:t>
            </a:r>
            <a:r>
              <a:rPr sz="1667" b="1" spc="213" dirty="0">
                <a:latin typeface="Trebuchet MS"/>
                <a:cs typeface="Trebuchet MS"/>
              </a:rPr>
              <a:t>  </a:t>
            </a:r>
            <a:r>
              <a:rPr sz="1667" b="1" dirty="0">
                <a:latin typeface="Trebuchet MS"/>
                <a:cs typeface="Trebuchet MS"/>
              </a:rPr>
              <a:t>the</a:t>
            </a:r>
            <a:r>
              <a:rPr sz="1667" b="1" spc="213" dirty="0">
                <a:latin typeface="Trebuchet MS"/>
                <a:cs typeface="Trebuchet MS"/>
              </a:rPr>
              <a:t>  </a:t>
            </a:r>
            <a:r>
              <a:rPr sz="1667" b="1" spc="-7" dirty="0">
                <a:latin typeface="Trebuchet MS"/>
                <a:cs typeface="Trebuchet MS"/>
              </a:rPr>
              <a:t>mental, </a:t>
            </a:r>
            <a:r>
              <a:rPr sz="1667" b="1" dirty="0">
                <a:latin typeface="Trebuchet MS"/>
                <a:cs typeface="Trebuchet MS"/>
              </a:rPr>
              <a:t>physical</a:t>
            </a:r>
            <a:r>
              <a:rPr sz="1667" b="1" spc="117" dirty="0">
                <a:latin typeface="Trebuchet MS"/>
                <a:cs typeface="Trebuchet MS"/>
              </a:rPr>
              <a:t> </a:t>
            </a:r>
            <a:r>
              <a:rPr sz="1667" b="1" spc="40" dirty="0">
                <a:latin typeface="Trebuchet MS"/>
                <a:cs typeface="Trebuchet MS"/>
              </a:rPr>
              <a:t>and</a:t>
            </a:r>
            <a:r>
              <a:rPr sz="1667" b="1" spc="117" dirty="0">
                <a:latin typeface="Trebuchet MS"/>
                <a:cs typeface="Trebuchet MS"/>
              </a:rPr>
              <a:t> </a:t>
            </a:r>
            <a:r>
              <a:rPr sz="1667" b="1" dirty="0">
                <a:latin typeface="Trebuchet MS"/>
                <a:cs typeface="Trebuchet MS"/>
              </a:rPr>
              <a:t>emotional</a:t>
            </a:r>
            <a:r>
              <a:rPr sz="1667" b="1" spc="120" dirty="0">
                <a:latin typeface="Trebuchet MS"/>
                <a:cs typeface="Trebuchet MS"/>
              </a:rPr>
              <a:t> </a:t>
            </a:r>
            <a:r>
              <a:rPr sz="1667" b="1" dirty="0">
                <a:latin typeface="Trebuchet MS"/>
                <a:cs typeface="Trebuchet MS"/>
              </a:rPr>
              <a:t>health</a:t>
            </a:r>
            <a:r>
              <a:rPr sz="1667" b="1" spc="117" dirty="0">
                <a:latin typeface="Trebuchet MS"/>
                <a:cs typeface="Trebuchet MS"/>
              </a:rPr>
              <a:t> </a:t>
            </a:r>
            <a:r>
              <a:rPr sz="1667" b="1" spc="40" dirty="0">
                <a:latin typeface="Trebuchet MS"/>
                <a:cs typeface="Trebuchet MS"/>
              </a:rPr>
              <a:t>and</a:t>
            </a:r>
            <a:r>
              <a:rPr sz="1667" b="1" spc="120" dirty="0">
                <a:latin typeface="Trebuchet MS"/>
                <a:cs typeface="Trebuchet MS"/>
              </a:rPr>
              <a:t> </a:t>
            </a:r>
            <a:r>
              <a:rPr sz="1667" b="1" spc="-37" dirty="0">
                <a:latin typeface="Trebuchet MS"/>
                <a:cs typeface="Trebuchet MS"/>
              </a:rPr>
              <a:t>well-</a:t>
            </a:r>
            <a:r>
              <a:rPr sz="1667" b="1" dirty="0">
                <a:latin typeface="Trebuchet MS"/>
                <a:cs typeface="Trebuchet MS"/>
              </a:rPr>
              <a:t>being</a:t>
            </a:r>
            <a:r>
              <a:rPr sz="1667" b="1" spc="117" dirty="0">
                <a:latin typeface="Trebuchet MS"/>
                <a:cs typeface="Trebuchet MS"/>
              </a:rPr>
              <a:t> </a:t>
            </a:r>
            <a:r>
              <a:rPr sz="1667" b="1" dirty="0">
                <a:latin typeface="Trebuchet MS"/>
                <a:cs typeface="Trebuchet MS"/>
              </a:rPr>
              <a:t>of</a:t>
            </a:r>
            <a:r>
              <a:rPr sz="1667" b="1" spc="117" dirty="0">
                <a:latin typeface="Trebuchet MS"/>
                <a:cs typeface="Trebuchet MS"/>
              </a:rPr>
              <a:t> </a:t>
            </a:r>
            <a:r>
              <a:rPr sz="1667" b="1" spc="-17" dirty="0">
                <a:latin typeface="Trebuchet MS"/>
                <a:cs typeface="Trebuchet MS"/>
              </a:rPr>
              <a:t>all </a:t>
            </a:r>
            <a:r>
              <a:rPr sz="1667" b="1" dirty="0">
                <a:latin typeface="Trebuchet MS"/>
                <a:cs typeface="Trebuchet MS"/>
              </a:rPr>
              <a:t>members</a:t>
            </a:r>
            <a:r>
              <a:rPr sz="1667" b="1" spc="80" dirty="0">
                <a:latin typeface="Trebuchet MS"/>
                <a:cs typeface="Trebuchet MS"/>
              </a:rPr>
              <a:t>  </a:t>
            </a:r>
            <a:r>
              <a:rPr sz="1667" b="1" dirty="0">
                <a:latin typeface="Trebuchet MS"/>
                <a:cs typeface="Trebuchet MS"/>
              </a:rPr>
              <a:t>of</a:t>
            </a:r>
            <a:r>
              <a:rPr sz="1667" b="1" spc="83" dirty="0">
                <a:latin typeface="Trebuchet MS"/>
                <a:cs typeface="Trebuchet MS"/>
              </a:rPr>
              <a:t>  </a:t>
            </a:r>
            <a:r>
              <a:rPr sz="1667" b="1" dirty="0">
                <a:latin typeface="Trebuchet MS"/>
                <a:cs typeface="Trebuchet MS"/>
              </a:rPr>
              <a:t>the</a:t>
            </a:r>
            <a:r>
              <a:rPr sz="1667" b="1" spc="80" dirty="0">
                <a:latin typeface="Trebuchet MS"/>
                <a:cs typeface="Trebuchet MS"/>
              </a:rPr>
              <a:t>  </a:t>
            </a:r>
            <a:r>
              <a:rPr sz="1667" b="1" dirty="0">
                <a:latin typeface="Trebuchet MS"/>
                <a:cs typeface="Trebuchet MS"/>
              </a:rPr>
              <a:t>community</a:t>
            </a:r>
            <a:r>
              <a:rPr sz="1667" b="1" spc="83" dirty="0">
                <a:latin typeface="Trebuchet MS"/>
                <a:cs typeface="Trebuchet MS"/>
              </a:rPr>
              <a:t>  </a:t>
            </a:r>
            <a:r>
              <a:rPr sz="1667" b="1" dirty="0">
                <a:latin typeface="Trebuchet MS"/>
                <a:cs typeface="Trebuchet MS"/>
              </a:rPr>
              <a:t>through</a:t>
            </a:r>
            <a:r>
              <a:rPr sz="1667" b="1" spc="83" dirty="0">
                <a:latin typeface="Trebuchet MS"/>
                <a:cs typeface="Trebuchet MS"/>
              </a:rPr>
              <a:t>  </a:t>
            </a:r>
            <a:r>
              <a:rPr sz="1667" b="1" spc="-7" dirty="0">
                <a:latin typeface="Trebuchet MS"/>
                <a:cs typeface="Trebuchet MS"/>
              </a:rPr>
              <a:t>counseling, </a:t>
            </a:r>
            <a:r>
              <a:rPr sz="1667" b="1" spc="-20" dirty="0">
                <a:latin typeface="Trebuchet MS"/>
                <a:cs typeface="Trebuchet MS"/>
              </a:rPr>
              <a:t>education,</a:t>
            </a:r>
            <a:r>
              <a:rPr sz="1667" b="1" spc="-80" dirty="0">
                <a:latin typeface="Trebuchet MS"/>
                <a:cs typeface="Trebuchet MS"/>
              </a:rPr>
              <a:t> </a:t>
            </a:r>
            <a:r>
              <a:rPr sz="1667" b="1" spc="-27" dirty="0">
                <a:latin typeface="Trebuchet MS"/>
                <a:cs typeface="Trebuchet MS"/>
              </a:rPr>
              <a:t>support,</a:t>
            </a:r>
            <a:r>
              <a:rPr sz="1667" b="1" spc="-80" dirty="0">
                <a:latin typeface="Trebuchet MS"/>
                <a:cs typeface="Trebuchet MS"/>
              </a:rPr>
              <a:t> </a:t>
            </a:r>
            <a:r>
              <a:rPr sz="1667" b="1" spc="40" dirty="0">
                <a:latin typeface="Trebuchet MS"/>
                <a:cs typeface="Trebuchet MS"/>
              </a:rPr>
              <a:t>and</a:t>
            </a:r>
            <a:r>
              <a:rPr sz="1667" b="1" spc="-76" dirty="0">
                <a:latin typeface="Trebuchet MS"/>
                <a:cs typeface="Trebuchet MS"/>
              </a:rPr>
              <a:t> </a:t>
            </a:r>
            <a:r>
              <a:rPr sz="1667" b="1" spc="-7" dirty="0">
                <a:latin typeface="Trebuchet MS"/>
                <a:cs typeface="Trebuchet MS"/>
              </a:rPr>
              <a:t>advocacy.</a:t>
            </a:r>
            <a:endParaRPr sz="1667">
              <a:latin typeface="Trebuchet MS"/>
              <a:cs typeface="Trebuchet M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pic>
        <p:nvPicPr>
          <p:cNvPr id="9" name="object 9"/>
          <p:cNvPicPr/>
          <p:nvPr/>
        </p:nvPicPr>
        <p:blipFill>
          <a:blip r:embed="rId5" cstate="email">
            <a:extLst>
              <a:ext uri="{28A0092B-C50C-407E-A947-70E740481C1C}">
                <a14:useLocalDpi xmlns:a14="http://schemas.microsoft.com/office/drawing/2010/main"/>
              </a:ext>
            </a:extLst>
          </a:blip>
          <a:stretch>
            <a:fillRect/>
          </a:stretch>
        </p:blipFill>
        <p:spPr>
          <a:xfrm>
            <a:off x="3474847" y="2637525"/>
            <a:ext cx="73948" cy="73948"/>
          </a:xfrm>
          <a:prstGeom prst="rect">
            <a:avLst/>
          </a:prstGeom>
        </p:spPr>
      </p:pic>
      <p:pic>
        <p:nvPicPr>
          <p:cNvPr id="10" name="object 10"/>
          <p:cNvPicPr/>
          <p:nvPr/>
        </p:nvPicPr>
        <p:blipFill>
          <a:blip r:embed="rId5" cstate="email">
            <a:extLst>
              <a:ext uri="{28A0092B-C50C-407E-A947-70E740481C1C}">
                <a14:useLocalDpi xmlns:a14="http://schemas.microsoft.com/office/drawing/2010/main"/>
              </a:ext>
            </a:extLst>
          </a:blip>
          <a:stretch>
            <a:fillRect/>
          </a:stretch>
        </p:blipFill>
        <p:spPr>
          <a:xfrm>
            <a:off x="3474847" y="2920993"/>
            <a:ext cx="73948" cy="73948"/>
          </a:xfrm>
          <a:prstGeom prst="rect">
            <a:avLst/>
          </a:prstGeom>
        </p:spPr>
      </p:pic>
      <p:pic>
        <p:nvPicPr>
          <p:cNvPr id="11" name="object 11"/>
          <p:cNvPicPr/>
          <p:nvPr/>
        </p:nvPicPr>
        <p:blipFill>
          <a:blip r:embed="rId5" cstate="email">
            <a:extLst>
              <a:ext uri="{28A0092B-C50C-407E-A947-70E740481C1C}">
                <a14:useLocalDpi xmlns:a14="http://schemas.microsoft.com/office/drawing/2010/main"/>
              </a:ext>
            </a:extLst>
          </a:blip>
          <a:stretch>
            <a:fillRect/>
          </a:stretch>
        </p:blipFill>
        <p:spPr>
          <a:xfrm>
            <a:off x="3474847" y="3204462"/>
            <a:ext cx="73948" cy="73948"/>
          </a:xfrm>
          <a:prstGeom prst="rect">
            <a:avLst/>
          </a:prstGeom>
        </p:spPr>
      </p:pic>
      <p:pic>
        <p:nvPicPr>
          <p:cNvPr id="12" name="object 12"/>
          <p:cNvPicPr/>
          <p:nvPr/>
        </p:nvPicPr>
        <p:blipFill>
          <a:blip r:embed="rId6" cstate="email">
            <a:extLst>
              <a:ext uri="{28A0092B-C50C-407E-A947-70E740481C1C}">
                <a14:useLocalDpi xmlns:a14="http://schemas.microsoft.com/office/drawing/2010/main"/>
              </a:ext>
            </a:extLst>
          </a:blip>
          <a:stretch>
            <a:fillRect/>
          </a:stretch>
        </p:blipFill>
        <p:spPr>
          <a:xfrm>
            <a:off x="3474847" y="3487930"/>
            <a:ext cx="73948" cy="73948"/>
          </a:xfrm>
          <a:prstGeom prst="rect">
            <a:avLst/>
          </a:prstGeom>
        </p:spPr>
      </p:pic>
      <p:pic>
        <p:nvPicPr>
          <p:cNvPr id="13" name="object 13"/>
          <p:cNvPicPr/>
          <p:nvPr/>
        </p:nvPicPr>
        <p:blipFill>
          <a:blip r:embed="rId5" cstate="email">
            <a:extLst>
              <a:ext uri="{28A0092B-C50C-407E-A947-70E740481C1C}">
                <a14:useLocalDpi xmlns:a14="http://schemas.microsoft.com/office/drawing/2010/main"/>
              </a:ext>
            </a:extLst>
          </a:blip>
          <a:stretch>
            <a:fillRect/>
          </a:stretch>
        </p:blipFill>
        <p:spPr>
          <a:xfrm>
            <a:off x="3474847" y="4054867"/>
            <a:ext cx="73948" cy="73948"/>
          </a:xfrm>
          <a:prstGeom prst="rect">
            <a:avLst/>
          </a:prstGeom>
        </p:spPr>
      </p:pic>
      <p:pic>
        <p:nvPicPr>
          <p:cNvPr id="14" name="object 14"/>
          <p:cNvPicPr/>
          <p:nvPr/>
        </p:nvPicPr>
        <p:blipFill>
          <a:blip r:embed="rId6" cstate="email">
            <a:extLst>
              <a:ext uri="{28A0092B-C50C-407E-A947-70E740481C1C}">
                <a14:useLocalDpi xmlns:a14="http://schemas.microsoft.com/office/drawing/2010/main"/>
              </a:ext>
            </a:extLst>
          </a:blip>
          <a:stretch>
            <a:fillRect/>
          </a:stretch>
        </p:blipFill>
        <p:spPr>
          <a:xfrm>
            <a:off x="3474847" y="4338335"/>
            <a:ext cx="73948" cy="73948"/>
          </a:xfrm>
          <a:prstGeom prst="rect">
            <a:avLst/>
          </a:prstGeom>
        </p:spPr>
      </p:pic>
      <p:pic>
        <p:nvPicPr>
          <p:cNvPr id="16" name="object 16"/>
          <p:cNvPicPr/>
          <p:nvPr/>
        </p:nvPicPr>
        <p:blipFill>
          <a:blip r:embed="rId5" cstate="email">
            <a:extLst>
              <a:ext uri="{28A0092B-C50C-407E-A947-70E740481C1C}">
                <a14:useLocalDpi xmlns:a14="http://schemas.microsoft.com/office/drawing/2010/main"/>
              </a:ext>
            </a:extLst>
          </a:blip>
          <a:stretch>
            <a:fillRect/>
          </a:stretch>
        </p:blipFill>
        <p:spPr>
          <a:xfrm>
            <a:off x="3474847" y="4621804"/>
            <a:ext cx="73948" cy="73948"/>
          </a:xfrm>
          <a:prstGeom prst="rect">
            <a:avLst/>
          </a:prstGeom>
        </p:spPr>
      </p:pic>
      <p:pic>
        <p:nvPicPr>
          <p:cNvPr id="17" name="object 17"/>
          <p:cNvPicPr/>
          <p:nvPr/>
        </p:nvPicPr>
        <p:blipFill>
          <a:blip r:embed="rId5" cstate="email">
            <a:extLst>
              <a:ext uri="{28A0092B-C50C-407E-A947-70E740481C1C}">
                <a14:useLocalDpi xmlns:a14="http://schemas.microsoft.com/office/drawing/2010/main"/>
              </a:ext>
            </a:extLst>
          </a:blip>
          <a:stretch>
            <a:fillRect/>
          </a:stretch>
        </p:blipFill>
        <p:spPr>
          <a:xfrm>
            <a:off x="3474847" y="5188741"/>
            <a:ext cx="73948" cy="73948"/>
          </a:xfrm>
          <a:prstGeom prst="rect">
            <a:avLst/>
          </a:prstGeom>
        </p:spPr>
      </p:pic>
      <p:pic>
        <p:nvPicPr>
          <p:cNvPr id="18" name="object 18"/>
          <p:cNvPicPr/>
          <p:nvPr/>
        </p:nvPicPr>
        <p:blipFill>
          <a:blip r:embed="rId5" cstate="email">
            <a:extLst>
              <a:ext uri="{28A0092B-C50C-407E-A947-70E740481C1C}">
                <a14:useLocalDpi xmlns:a14="http://schemas.microsoft.com/office/drawing/2010/main"/>
              </a:ext>
            </a:extLst>
          </a:blip>
          <a:stretch>
            <a:fillRect/>
          </a:stretch>
        </p:blipFill>
        <p:spPr>
          <a:xfrm>
            <a:off x="3474847" y="5755678"/>
            <a:ext cx="73948" cy="73948"/>
          </a:xfrm>
          <a:prstGeom prst="rect">
            <a:avLst/>
          </a:prstGeom>
        </p:spPr>
      </p:pic>
      <p:sp>
        <p:nvSpPr>
          <p:cNvPr id="19" name="object 19"/>
          <p:cNvSpPr txBox="1"/>
          <p:nvPr/>
        </p:nvSpPr>
        <p:spPr>
          <a:xfrm>
            <a:off x="1160028" y="236267"/>
            <a:ext cx="1232323" cy="220133"/>
          </a:xfrm>
          <a:prstGeom prst="rect">
            <a:avLst/>
          </a:prstGeom>
        </p:spPr>
        <p:txBody>
          <a:bodyPr vert="horz" wrap="square" lIns="0" tIns="8467" rIns="0" bIns="0" rtlCol="0">
            <a:spAutoFit/>
          </a:bodyPr>
          <a:lstStyle/>
          <a:p>
            <a:pPr marL="8467">
              <a:lnSpc>
                <a:spcPct val="100000"/>
              </a:lnSpc>
              <a:spcBef>
                <a:spcPts val="67"/>
              </a:spcBef>
            </a:pPr>
            <a:r>
              <a:rPr sz="1333" b="1" spc="-73" dirty="0">
                <a:solidFill>
                  <a:srgbClr val="FF8F45"/>
                </a:solidFill>
                <a:latin typeface="Trebuchet MS"/>
                <a:cs typeface="Trebuchet MS"/>
              </a:rPr>
              <a:t>THE</a:t>
            </a:r>
            <a:r>
              <a:rPr sz="1333" b="1" spc="-63" dirty="0">
                <a:solidFill>
                  <a:srgbClr val="FF8F45"/>
                </a:solidFill>
                <a:latin typeface="Trebuchet MS"/>
                <a:cs typeface="Trebuchet MS"/>
              </a:rPr>
              <a:t> </a:t>
            </a:r>
            <a:r>
              <a:rPr sz="1333" b="1" dirty="0">
                <a:solidFill>
                  <a:srgbClr val="FF8F45"/>
                </a:solidFill>
                <a:latin typeface="Trebuchet MS"/>
                <a:cs typeface="Trebuchet MS"/>
              </a:rPr>
              <a:t>DOULA</a:t>
            </a:r>
            <a:r>
              <a:rPr sz="1333" b="1" spc="-60" dirty="0">
                <a:solidFill>
                  <a:srgbClr val="FF8F45"/>
                </a:solidFill>
                <a:latin typeface="Trebuchet MS"/>
                <a:cs typeface="Trebuchet MS"/>
              </a:rPr>
              <a:t> </a:t>
            </a:r>
            <a:r>
              <a:rPr sz="1333" b="1" spc="-17" dirty="0">
                <a:solidFill>
                  <a:srgbClr val="FF8F45"/>
                </a:solidFill>
                <a:latin typeface="Trebuchet MS"/>
                <a:cs typeface="Trebuchet MS"/>
              </a:rPr>
              <a:t>LAB</a:t>
            </a:r>
            <a:endParaRPr sz="1333">
              <a:latin typeface="Trebuchet MS"/>
              <a:cs typeface="Trebuchet MS"/>
            </a:endParaRPr>
          </a:p>
        </p:txBody>
      </p:sp>
      <p:sp>
        <p:nvSpPr>
          <p:cNvPr id="20" name="object 20"/>
          <p:cNvSpPr txBox="1">
            <a:spLocks noGrp="1"/>
          </p:cNvSpPr>
          <p:nvPr>
            <p:ph type="title"/>
          </p:nvPr>
        </p:nvSpPr>
        <p:spPr>
          <a:xfrm>
            <a:off x="3481594" y="208750"/>
            <a:ext cx="2864273" cy="829733"/>
          </a:xfrm>
          <a:prstGeom prst="rect">
            <a:avLst/>
          </a:prstGeom>
        </p:spPr>
        <p:txBody>
          <a:bodyPr vert="horz" wrap="square" lIns="0" tIns="8467" rIns="0" bIns="0" rtlCol="0">
            <a:spAutoFit/>
          </a:bodyPr>
          <a:lstStyle/>
          <a:p>
            <a:pPr marL="8467">
              <a:lnSpc>
                <a:spcPct val="100000"/>
              </a:lnSpc>
              <a:spcBef>
                <a:spcPts val="67"/>
              </a:spcBef>
            </a:pPr>
            <a:r>
              <a:rPr sz="5334" dirty="0"/>
              <a:t>Our</a:t>
            </a:r>
            <a:r>
              <a:rPr sz="5334" spc="-387" dirty="0"/>
              <a:t> </a:t>
            </a:r>
            <a:r>
              <a:rPr sz="5334" spc="203" dirty="0"/>
              <a:t>Goal</a:t>
            </a:r>
            <a:endParaRPr sz="5334"/>
          </a:p>
        </p:txBody>
      </p:sp>
      <p:sp>
        <p:nvSpPr>
          <p:cNvPr id="21" name="object 21"/>
          <p:cNvSpPr txBox="1"/>
          <p:nvPr/>
        </p:nvSpPr>
        <p:spPr>
          <a:xfrm>
            <a:off x="3306160" y="946600"/>
            <a:ext cx="8453543" cy="4969933"/>
          </a:xfrm>
          <a:prstGeom prst="rect">
            <a:avLst/>
          </a:prstGeom>
        </p:spPr>
        <p:txBody>
          <a:bodyPr vert="horz" wrap="square" lIns="0" tIns="226907" rIns="0" bIns="0" rtlCol="0">
            <a:spAutoFit/>
          </a:bodyPr>
          <a:lstStyle/>
          <a:p>
            <a:pPr marL="2789906">
              <a:lnSpc>
                <a:spcPct val="100000"/>
              </a:lnSpc>
              <a:spcBef>
                <a:spcPts val="1787"/>
              </a:spcBef>
            </a:pPr>
            <a:r>
              <a:rPr sz="2467" b="1" spc="-40" dirty="0">
                <a:solidFill>
                  <a:srgbClr val="2ABEC1"/>
                </a:solidFill>
                <a:latin typeface="Trebuchet MS"/>
                <a:cs typeface="Trebuchet MS"/>
              </a:rPr>
              <a:t>Empower</a:t>
            </a:r>
            <a:r>
              <a:rPr sz="2467" b="1" spc="-127" dirty="0">
                <a:solidFill>
                  <a:srgbClr val="2ABEC1"/>
                </a:solidFill>
                <a:latin typeface="Trebuchet MS"/>
                <a:cs typeface="Trebuchet MS"/>
              </a:rPr>
              <a:t> </a:t>
            </a:r>
            <a:r>
              <a:rPr sz="2467" b="1" spc="-43" dirty="0">
                <a:solidFill>
                  <a:srgbClr val="2ABEC1"/>
                </a:solidFill>
                <a:latin typeface="Trebuchet MS"/>
                <a:cs typeface="Trebuchet MS"/>
              </a:rPr>
              <a:t>Birthing</a:t>
            </a:r>
            <a:r>
              <a:rPr sz="2467" b="1" spc="-120" dirty="0">
                <a:solidFill>
                  <a:srgbClr val="2ABEC1"/>
                </a:solidFill>
                <a:latin typeface="Trebuchet MS"/>
                <a:cs typeface="Trebuchet MS"/>
              </a:rPr>
              <a:t> </a:t>
            </a:r>
            <a:r>
              <a:rPr sz="2467" b="1" spc="-7" dirty="0">
                <a:solidFill>
                  <a:srgbClr val="2ABEC1"/>
                </a:solidFill>
                <a:latin typeface="Trebuchet MS"/>
                <a:cs typeface="Trebuchet MS"/>
              </a:rPr>
              <a:t>Families</a:t>
            </a:r>
            <a:endParaRPr sz="2467">
              <a:latin typeface="Trebuchet MS"/>
              <a:cs typeface="Trebuchet MS"/>
            </a:endParaRPr>
          </a:p>
          <a:p>
            <a:pPr marL="8467" marR="3387">
              <a:lnSpc>
                <a:spcPct val="116300"/>
              </a:lnSpc>
              <a:spcBef>
                <a:spcPts val="830"/>
              </a:spcBef>
            </a:pPr>
            <a:r>
              <a:rPr sz="1600" spc="-127" dirty="0">
                <a:latin typeface="Arial Black"/>
                <a:cs typeface="Arial Black"/>
              </a:rPr>
              <a:t>The</a:t>
            </a:r>
            <a:r>
              <a:rPr sz="1600" spc="-27" dirty="0">
                <a:latin typeface="Arial Black"/>
                <a:cs typeface="Arial Black"/>
              </a:rPr>
              <a:t> </a:t>
            </a:r>
            <a:r>
              <a:rPr sz="1600" spc="-97" dirty="0">
                <a:latin typeface="Arial Black"/>
                <a:cs typeface="Arial Black"/>
              </a:rPr>
              <a:t>goal</a:t>
            </a:r>
            <a:r>
              <a:rPr sz="1600" spc="-37" dirty="0">
                <a:latin typeface="Arial Black"/>
                <a:cs typeface="Arial Black"/>
              </a:rPr>
              <a:t> </a:t>
            </a:r>
            <a:r>
              <a:rPr sz="1600" spc="-113" dirty="0">
                <a:latin typeface="Arial Black"/>
                <a:cs typeface="Arial Black"/>
              </a:rPr>
              <a:t>is</a:t>
            </a:r>
            <a:r>
              <a:rPr sz="1600" spc="-27" dirty="0">
                <a:latin typeface="Arial Black"/>
                <a:cs typeface="Arial Black"/>
              </a:rPr>
              <a:t> </a:t>
            </a:r>
            <a:r>
              <a:rPr sz="1600" dirty="0">
                <a:latin typeface="Arial Black"/>
                <a:cs typeface="Arial Black"/>
              </a:rPr>
              <a:t>to</a:t>
            </a:r>
            <a:r>
              <a:rPr sz="1600" spc="-133" dirty="0">
                <a:latin typeface="Arial Black"/>
                <a:cs typeface="Arial Black"/>
              </a:rPr>
              <a:t> </a:t>
            </a:r>
            <a:r>
              <a:rPr sz="1600" spc="-90" dirty="0">
                <a:latin typeface="Arial Black"/>
                <a:cs typeface="Arial Black"/>
              </a:rPr>
              <a:t>reduce</a:t>
            </a:r>
            <a:r>
              <a:rPr sz="1600" spc="-43" dirty="0">
                <a:latin typeface="Arial Black"/>
                <a:cs typeface="Arial Black"/>
              </a:rPr>
              <a:t> </a:t>
            </a:r>
            <a:r>
              <a:rPr sz="1600" spc="-47" dirty="0">
                <a:latin typeface="Arial Black"/>
                <a:cs typeface="Arial Black"/>
              </a:rPr>
              <a:t>maternal</a:t>
            </a:r>
            <a:r>
              <a:rPr sz="1600" spc="-87" dirty="0">
                <a:latin typeface="Arial Black"/>
                <a:cs typeface="Arial Black"/>
              </a:rPr>
              <a:t> </a:t>
            </a:r>
            <a:r>
              <a:rPr sz="1600" spc="-30" dirty="0">
                <a:latin typeface="Arial Black"/>
                <a:cs typeface="Arial Black"/>
              </a:rPr>
              <a:t>mortality</a:t>
            </a:r>
            <a:r>
              <a:rPr sz="1600" spc="-80" dirty="0">
                <a:latin typeface="Arial Black"/>
                <a:cs typeface="Arial Black"/>
              </a:rPr>
              <a:t> </a:t>
            </a:r>
            <a:r>
              <a:rPr sz="1600" spc="-33" dirty="0">
                <a:latin typeface="Arial Black"/>
                <a:cs typeface="Arial Black"/>
              </a:rPr>
              <a:t>and</a:t>
            </a:r>
            <a:r>
              <a:rPr sz="1600" spc="-57" dirty="0">
                <a:latin typeface="Arial Black"/>
                <a:cs typeface="Arial Black"/>
              </a:rPr>
              <a:t> </a:t>
            </a:r>
            <a:r>
              <a:rPr sz="1600" spc="-33" dirty="0">
                <a:latin typeface="Arial Black"/>
                <a:cs typeface="Arial Black"/>
              </a:rPr>
              <a:t>morbidity</a:t>
            </a:r>
            <a:r>
              <a:rPr sz="1600" spc="-57" dirty="0">
                <a:latin typeface="Arial Black"/>
                <a:cs typeface="Arial Black"/>
              </a:rPr>
              <a:t> </a:t>
            </a:r>
            <a:r>
              <a:rPr sz="1600" spc="-13" dirty="0">
                <a:latin typeface="Arial Black"/>
                <a:cs typeface="Arial Black"/>
              </a:rPr>
              <a:t>by</a:t>
            </a:r>
            <a:r>
              <a:rPr sz="1600" spc="-57" dirty="0">
                <a:latin typeface="Arial Black"/>
                <a:cs typeface="Arial Black"/>
              </a:rPr>
              <a:t> </a:t>
            </a:r>
            <a:r>
              <a:rPr sz="1600" spc="-50" dirty="0">
                <a:latin typeface="Arial Black"/>
                <a:cs typeface="Arial Black"/>
              </a:rPr>
              <a:t>improving</a:t>
            </a:r>
            <a:r>
              <a:rPr sz="1600" spc="-57" dirty="0">
                <a:latin typeface="Arial Black"/>
                <a:cs typeface="Arial Black"/>
              </a:rPr>
              <a:t> </a:t>
            </a:r>
            <a:r>
              <a:rPr sz="1600" spc="-117" dirty="0">
                <a:latin typeface="Arial Black"/>
                <a:cs typeface="Arial Black"/>
              </a:rPr>
              <a:t>care</a:t>
            </a:r>
            <a:r>
              <a:rPr sz="1600" spc="-27" dirty="0">
                <a:latin typeface="Arial Black"/>
                <a:cs typeface="Arial Black"/>
              </a:rPr>
              <a:t> </a:t>
            </a:r>
            <a:r>
              <a:rPr sz="1600" dirty="0">
                <a:latin typeface="Arial Black"/>
                <a:cs typeface="Arial Black"/>
              </a:rPr>
              <a:t>for</a:t>
            </a:r>
            <a:r>
              <a:rPr sz="1600" spc="-60" dirty="0">
                <a:latin typeface="Arial Black"/>
                <a:cs typeface="Arial Black"/>
              </a:rPr>
              <a:t> </a:t>
            </a:r>
            <a:r>
              <a:rPr sz="1600" spc="-17" dirty="0">
                <a:latin typeface="Arial Black"/>
                <a:cs typeface="Arial Black"/>
              </a:rPr>
              <a:t>the </a:t>
            </a:r>
            <a:r>
              <a:rPr sz="1600" spc="-67" dirty="0">
                <a:latin typeface="Arial Black"/>
                <a:cs typeface="Arial Black"/>
              </a:rPr>
              <a:t>underserved</a:t>
            </a:r>
            <a:r>
              <a:rPr sz="1600" spc="-97" dirty="0">
                <a:latin typeface="Arial Black"/>
                <a:cs typeface="Arial Black"/>
              </a:rPr>
              <a:t> </a:t>
            </a:r>
            <a:r>
              <a:rPr sz="1600" spc="-53" dirty="0">
                <a:latin typeface="Arial Black"/>
                <a:cs typeface="Arial Black"/>
              </a:rPr>
              <a:t>population</a:t>
            </a:r>
            <a:r>
              <a:rPr sz="1600" spc="-97" dirty="0">
                <a:latin typeface="Arial Black"/>
                <a:cs typeface="Arial Black"/>
              </a:rPr>
              <a:t> </a:t>
            </a:r>
            <a:r>
              <a:rPr sz="1600" spc="-57" dirty="0">
                <a:latin typeface="Arial Black"/>
                <a:cs typeface="Arial Black"/>
              </a:rPr>
              <a:t>with</a:t>
            </a:r>
            <a:r>
              <a:rPr sz="1600" spc="-93" dirty="0">
                <a:latin typeface="Arial Black"/>
                <a:cs typeface="Arial Black"/>
              </a:rPr>
              <a:t> </a:t>
            </a:r>
            <a:r>
              <a:rPr sz="1600" spc="-53" dirty="0">
                <a:latin typeface="Arial Black"/>
                <a:cs typeface="Arial Black"/>
              </a:rPr>
              <a:t>the</a:t>
            </a:r>
            <a:r>
              <a:rPr sz="1600" spc="-97" dirty="0">
                <a:latin typeface="Arial Black"/>
                <a:cs typeface="Arial Black"/>
              </a:rPr>
              <a:t> </a:t>
            </a:r>
            <a:r>
              <a:rPr sz="1600" spc="-70" dirty="0">
                <a:latin typeface="Arial Black"/>
                <a:cs typeface="Arial Black"/>
              </a:rPr>
              <a:t>following</a:t>
            </a:r>
            <a:r>
              <a:rPr sz="1600" spc="-97" dirty="0">
                <a:latin typeface="Arial Black"/>
                <a:cs typeface="Arial Black"/>
              </a:rPr>
              <a:t> </a:t>
            </a:r>
            <a:r>
              <a:rPr sz="1600" spc="-180" dirty="0">
                <a:latin typeface="Arial Black"/>
                <a:cs typeface="Arial Black"/>
              </a:rPr>
              <a:t>access</a:t>
            </a:r>
            <a:r>
              <a:rPr sz="1600" spc="-93" dirty="0">
                <a:latin typeface="Arial Black"/>
                <a:cs typeface="Arial Black"/>
              </a:rPr>
              <a:t> </a:t>
            </a:r>
            <a:r>
              <a:rPr sz="1600" spc="-47" dirty="0">
                <a:latin typeface="Arial Black"/>
                <a:cs typeface="Arial Black"/>
              </a:rPr>
              <a:t>to</a:t>
            </a:r>
            <a:r>
              <a:rPr sz="1600" spc="-97" dirty="0">
                <a:latin typeface="Arial Black"/>
                <a:cs typeface="Arial Black"/>
              </a:rPr>
              <a:t> </a:t>
            </a:r>
            <a:r>
              <a:rPr sz="1600" spc="-103" dirty="0">
                <a:latin typeface="Arial Black"/>
                <a:cs typeface="Arial Black"/>
              </a:rPr>
              <a:t>resources</a:t>
            </a:r>
            <a:r>
              <a:rPr sz="1600" spc="-93" dirty="0">
                <a:latin typeface="Arial Black"/>
                <a:cs typeface="Arial Black"/>
              </a:rPr>
              <a:t> </a:t>
            </a:r>
            <a:r>
              <a:rPr sz="1600" spc="-113" dirty="0">
                <a:latin typeface="Arial Black"/>
                <a:cs typeface="Arial Black"/>
              </a:rPr>
              <a:t>such</a:t>
            </a:r>
            <a:r>
              <a:rPr sz="1600" spc="-97" dirty="0">
                <a:latin typeface="Arial Black"/>
                <a:cs typeface="Arial Black"/>
              </a:rPr>
              <a:t> </a:t>
            </a:r>
            <a:r>
              <a:rPr sz="1600" spc="-17" dirty="0">
                <a:latin typeface="Arial Black"/>
                <a:cs typeface="Arial Black"/>
              </a:rPr>
              <a:t>as:</a:t>
            </a:r>
            <a:endParaRPr sz="1600">
              <a:latin typeface="Arial Black"/>
              <a:cs typeface="Arial Black"/>
            </a:endParaRPr>
          </a:p>
          <a:p>
            <a:pPr>
              <a:lnSpc>
                <a:spcPct val="100000"/>
              </a:lnSpc>
              <a:spcBef>
                <a:spcPts val="287"/>
              </a:spcBef>
            </a:pPr>
            <a:endParaRPr sz="1600">
              <a:latin typeface="Arial Black"/>
              <a:cs typeface="Arial Black"/>
            </a:endParaRPr>
          </a:p>
          <a:p>
            <a:pPr marL="357311">
              <a:lnSpc>
                <a:spcPct val="100000"/>
              </a:lnSpc>
              <a:spcBef>
                <a:spcPts val="3"/>
              </a:spcBef>
            </a:pPr>
            <a:r>
              <a:rPr sz="1600" spc="-90" dirty="0">
                <a:latin typeface="Arial Black"/>
                <a:cs typeface="Arial Black"/>
              </a:rPr>
              <a:t>Reduction</a:t>
            </a:r>
            <a:r>
              <a:rPr sz="1600" spc="-100" dirty="0">
                <a:latin typeface="Arial Black"/>
                <a:cs typeface="Arial Black"/>
              </a:rPr>
              <a:t> </a:t>
            </a:r>
            <a:r>
              <a:rPr sz="1600" spc="-27" dirty="0">
                <a:latin typeface="Arial Black"/>
                <a:cs typeface="Arial Black"/>
              </a:rPr>
              <a:t>in</a:t>
            </a:r>
            <a:r>
              <a:rPr sz="1600" spc="-97" dirty="0">
                <a:latin typeface="Arial Black"/>
                <a:cs typeface="Arial Black"/>
              </a:rPr>
              <a:t> </a:t>
            </a:r>
            <a:r>
              <a:rPr sz="1600" spc="-33" dirty="0">
                <a:latin typeface="Arial Black"/>
                <a:cs typeface="Arial Black"/>
              </a:rPr>
              <a:t>infant</a:t>
            </a:r>
            <a:r>
              <a:rPr sz="1600" spc="-100" dirty="0">
                <a:latin typeface="Arial Black"/>
                <a:cs typeface="Arial Black"/>
              </a:rPr>
              <a:t> </a:t>
            </a:r>
            <a:r>
              <a:rPr sz="1600" spc="-40" dirty="0">
                <a:latin typeface="Arial Black"/>
                <a:cs typeface="Arial Black"/>
              </a:rPr>
              <a:t>mortality</a:t>
            </a:r>
            <a:r>
              <a:rPr sz="1600" spc="-97" dirty="0">
                <a:latin typeface="Arial Black"/>
                <a:cs typeface="Arial Black"/>
              </a:rPr>
              <a:t> </a:t>
            </a:r>
            <a:r>
              <a:rPr sz="1600" spc="-7" dirty="0">
                <a:latin typeface="Arial Black"/>
                <a:cs typeface="Arial Black"/>
              </a:rPr>
              <a:t>rates</a:t>
            </a:r>
            <a:endParaRPr sz="1600">
              <a:latin typeface="Arial Black"/>
              <a:cs typeface="Arial Black"/>
            </a:endParaRPr>
          </a:p>
          <a:p>
            <a:pPr marL="357311" marR="2842402">
              <a:lnSpc>
                <a:spcPts val="2233"/>
              </a:lnSpc>
              <a:spcBef>
                <a:spcPts val="123"/>
              </a:spcBef>
            </a:pPr>
            <a:r>
              <a:rPr sz="1600" spc="-90" dirty="0">
                <a:latin typeface="Arial Black"/>
                <a:cs typeface="Arial Black"/>
              </a:rPr>
              <a:t>Reduction</a:t>
            </a:r>
            <a:r>
              <a:rPr sz="1600" spc="-97" dirty="0">
                <a:latin typeface="Arial Black"/>
                <a:cs typeface="Arial Black"/>
              </a:rPr>
              <a:t> </a:t>
            </a:r>
            <a:r>
              <a:rPr sz="1600" spc="-27" dirty="0">
                <a:latin typeface="Arial Black"/>
                <a:cs typeface="Arial Black"/>
              </a:rPr>
              <a:t>in</a:t>
            </a:r>
            <a:r>
              <a:rPr sz="1600" spc="-93" dirty="0">
                <a:latin typeface="Arial Black"/>
                <a:cs typeface="Arial Black"/>
              </a:rPr>
              <a:t> </a:t>
            </a:r>
            <a:r>
              <a:rPr sz="1600" spc="-50" dirty="0">
                <a:latin typeface="Arial Black"/>
                <a:cs typeface="Arial Black"/>
              </a:rPr>
              <a:t>maternal</a:t>
            </a:r>
            <a:r>
              <a:rPr sz="1600" spc="-97" dirty="0">
                <a:latin typeface="Arial Black"/>
                <a:cs typeface="Arial Black"/>
              </a:rPr>
              <a:t> </a:t>
            </a:r>
            <a:r>
              <a:rPr sz="1600" spc="-93" dirty="0">
                <a:latin typeface="Arial Black"/>
                <a:cs typeface="Arial Black"/>
              </a:rPr>
              <a:t>complications </a:t>
            </a:r>
            <a:r>
              <a:rPr sz="1600" spc="-57" dirty="0">
                <a:latin typeface="Arial Black"/>
                <a:cs typeface="Arial Black"/>
              </a:rPr>
              <a:t>and</a:t>
            </a:r>
            <a:r>
              <a:rPr sz="1600" spc="-93" dirty="0">
                <a:latin typeface="Arial Black"/>
                <a:cs typeface="Arial Black"/>
              </a:rPr>
              <a:t> </a:t>
            </a:r>
            <a:r>
              <a:rPr sz="1600" spc="-7" dirty="0">
                <a:latin typeface="Arial Black"/>
                <a:cs typeface="Arial Black"/>
              </a:rPr>
              <a:t>mortality </a:t>
            </a:r>
            <a:r>
              <a:rPr sz="1600" spc="-90" dirty="0">
                <a:latin typeface="Arial Black"/>
                <a:cs typeface="Arial Black"/>
              </a:rPr>
              <a:t>Reduction</a:t>
            </a:r>
            <a:r>
              <a:rPr sz="1600" spc="-97" dirty="0">
                <a:latin typeface="Arial Black"/>
                <a:cs typeface="Arial Black"/>
              </a:rPr>
              <a:t> </a:t>
            </a:r>
            <a:r>
              <a:rPr sz="1600" spc="-43" dirty="0">
                <a:latin typeface="Arial Black"/>
                <a:cs typeface="Arial Black"/>
              </a:rPr>
              <a:t>of</a:t>
            </a:r>
            <a:r>
              <a:rPr sz="1600" spc="-93" dirty="0">
                <a:latin typeface="Arial Black"/>
                <a:cs typeface="Arial Black"/>
              </a:rPr>
              <a:t> </a:t>
            </a:r>
            <a:r>
              <a:rPr sz="1600" spc="-97" dirty="0">
                <a:latin typeface="Arial Black"/>
                <a:cs typeface="Arial Black"/>
              </a:rPr>
              <a:t>unnecessary</a:t>
            </a:r>
            <a:r>
              <a:rPr sz="1600" spc="-93" dirty="0">
                <a:latin typeface="Arial Black"/>
                <a:cs typeface="Arial Black"/>
              </a:rPr>
              <a:t> </a:t>
            </a:r>
            <a:r>
              <a:rPr sz="1600" spc="-60" dirty="0">
                <a:latin typeface="Arial Black"/>
                <a:cs typeface="Arial Black"/>
              </a:rPr>
              <a:t>induction</a:t>
            </a:r>
            <a:r>
              <a:rPr sz="1600" spc="-97" dirty="0">
                <a:latin typeface="Arial Black"/>
                <a:cs typeface="Arial Black"/>
              </a:rPr>
              <a:t> </a:t>
            </a:r>
            <a:r>
              <a:rPr sz="1600" spc="-43" dirty="0">
                <a:latin typeface="Arial Black"/>
                <a:cs typeface="Arial Black"/>
              </a:rPr>
              <a:t>of</a:t>
            </a:r>
            <a:r>
              <a:rPr sz="1600" spc="-93" dirty="0">
                <a:latin typeface="Arial Black"/>
                <a:cs typeface="Arial Black"/>
              </a:rPr>
              <a:t> </a:t>
            </a:r>
            <a:r>
              <a:rPr sz="1600" spc="-7" dirty="0">
                <a:latin typeface="Arial Black"/>
                <a:cs typeface="Arial Black"/>
              </a:rPr>
              <a:t>labor</a:t>
            </a:r>
            <a:endParaRPr sz="1600">
              <a:latin typeface="Arial Black"/>
              <a:cs typeface="Arial Black"/>
            </a:endParaRPr>
          </a:p>
          <a:p>
            <a:pPr marL="357311">
              <a:lnSpc>
                <a:spcPct val="100000"/>
              </a:lnSpc>
              <a:spcBef>
                <a:spcPts val="183"/>
              </a:spcBef>
            </a:pPr>
            <a:r>
              <a:rPr sz="1600" spc="-87" dirty="0">
                <a:latin typeface="Arial Black"/>
                <a:cs typeface="Arial Black"/>
              </a:rPr>
              <a:t>Reduction</a:t>
            </a:r>
            <a:r>
              <a:rPr sz="1600" spc="-76" dirty="0">
                <a:latin typeface="Arial Black"/>
                <a:cs typeface="Arial Black"/>
              </a:rPr>
              <a:t> </a:t>
            </a:r>
            <a:r>
              <a:rPr sz="1600" spc="-33" dirty="0">
                <a:latin typeface="Arial Black"/>
                <a:cs typeface="Arial Black"/>
              </a:rPr>
              <a:t>of</a:t>
            </a:r>
            <a:r>
              <a:rPr sz="1600" spc="-73" dirty="0">
                <a:latin typeface="Arial Black"/>
                <a:cs typeface="Arial Black"/>
              </a:rPr>
              <a:t> </a:t>
            </a:r>
            <a:r>
              <a:rPr sz="1600" spc="-100" dirty="0">
                <a:latin typeface="Arial Black"/>
                <a:cs typeface="Arial Black"/>
              </a:rPr>
              <a:t>elective</a:t>
            </a:r>
            <a:r>
              <a:rPr sz="1600" spc="-73" dirty="0">
                <a:latin typeface="Arial Black"/>
                <a:cs typeface="Arial Black"/>
              </a:rPr>
              <a:t> </a:t>
            </a:r>
            <a:r>
              <a:rPr sz="1600" spc="-76" dirty="0">
                <a:latin typeface="Arial Black"/>
                <a:cs typeface="Arial Black"/>
              </a:rPr>
              <a:t>deliveries </a:t>
            </a:r>
            <a:r>
              <a:rPr sz="1600" spc="-33" dirty="0">
                <a:latin typeface="Arial Black"/>
                <a:cs typeface="Arial Black"/>
              </a:rPr>
              <a:t>that</a:t>
            </a:r>
            <a:r>
              <a:rPr sz="1600" spc="-73" dirty="0">
                <a:latin typeface="Arial Black"/>
                <a:cs typeface="Arial Black"/>
              </a:rPr>
              <a:t> </a:t>
            </a:r>
            <a:r>
              <a:rPr sz="1600" spc="-123" dirty="0">
                <a:latin typeface="Arial Black"/>
                <a:cs typeface="Arial Black"/>
              </a:rPr>
              <a:t>can</a:t>
            </a:r>
            <a:r>
              <a:rPr sz="1600" spc="-73" dirty="0">
                <a:latin typeface="Arial Black"/>
                <a:cs typeface="Arial Black"/>
              </a:rPr>
              <a:t> </a:t>
            </a:r>
            <a:r>
              <a:rPr sz="1600" spc="-83" dirty="0">
                <a:latin typeface="Arial Black"/>
                <a:cs typeface="Arial Black"/>
              </a:rPr>
              <a:t>lead</a:t>
            </a:r>
            <a:r>
              <a:rPr sz="1600" spc="-76" dirty="0">
                <a:latin typeface="Arial Black"/>
                <a:cs typeface="Arial Black"/>
              </a:rPr>
              <a:t> </a:t>
            </a:r>
            <a:r>
              <a:rPr sz="1600" spc="-37" dirty="0">
                <a:latin typeface="Arial Black"/>
                <a:cs typeface="Arial Black"/>
              </a:rPr>
              <a:t>to</a:t>
            </a:r>
            <a:r>
              <a:rPr sz="1600" spc="-73" dirty="0">
                <a:latin typeface="Arial Black"/>
                <a:cs typeface="Arial Black"/>
              </a:rPr>
              <a:t> </a:t>
            </a:r>
            <a:r>
              <a:rPr sz="1600" spc="-57" dirty="0">
                <a:latin typeface="Arial Black"/>
                <a:cs typeface="Arial Black"/>
              </a:rPr>
              <a:t>an</a:t>
            </a:r>
            <a:r>
              <a:rPr sz="1600" spc="-73" dirty="0">
                <a:latin typeface="Arial Black"/>
                <a:cs typeface="Arial Black"/>
              </a:rPr>
              <a:t> </a:t>
            </a:r>
            <a:r>
              <a:rPr sz="1600" spc="-107" dirty="0">
                <a:latin typeface="Arial Black"/>
                <a:cs typeface="Arial Black"/>
              </a:rPr>
              <a:t>increase</a:t>
            </a:r>
            <a:r>
              <a:rPr sz="1600" spc="-73" dirty="0">
                <a:latin typeface="Arial Black"/>
                <a:cs typeface="Arial Black"/>
              </a:rPr>
              <a:t> </a:t>
            </a:r>
            <a:r>
              <a:rPr sz="1600" spc="-7" dirty="0">
                <a:latin typeface="Arial Black"/>
                <a:cs typeface="Arial Black"/>
              </a:rPr>
              <a:t>in</a:t>
            </a:r>
            <a:r>
              <a:rPr sz="1600" spc="-76" dirty="0">
                <a:latin typeface="Arial Black"/>
                <a:cs typeface="Arial Black"/>
              </a:rPr>
              <a:t> </a:t>
            </a:r>
            <a:r>
              <a:rPr sz="1600" spc="-83" dirty="0">
                <a:latin typeface="Arial Black"/>
                <a:cs typeface="Arial Black"/>
              </a:rPr>
              <a:t>admission</a:t>
            </a:r>
            <a:r>
              <a:rPr sz="1600" spc="-73" dirty="0">
                <a:latin typeface="Arial Black"/>
                <a:cs typeface="Arial Black"/>
              </a:rPr>
              <a:t> </a:t>
            </a:r>
            <a:r>
              <a:rPr sz="1600" spc="-7" dirty="0">
                <a:latin typeface="Arial Black"/>
                <a:cs typeface="Arial Black"/>
              </a:rPr>
              <a:t>rates</a:t>
            </a:r>
            <a:endParaRPr sz="1600">
              <a:latin typeface="Arial Black"/>
              <a:cs typeface="Arial Black"/>
            </a:endParaRPr>
          </a:p>
          <a:p>
            <a:pPr marL="357311" marR="3527390">
              <a:lnSpc>
                <a:spcPts val="2233"/>
              </a:lnSpc>
              <a:spcBef>
                <a:spcPts val="127"/>
              </a:spcBef>
            </a:pPr>
            <a:r>
              <a:rPr sz="1600" spc="-47" dirty="0">
                <a:latin typeface="Arial Black"/>
                <a:cs typeface="Arial Black"/>
              </a:rPr>
              <a:t>to</a:t>
            </a:r>
            <a:r>
              <a:rPr sz="1600" spc="-100" dirty="0">
                <a:latin typeface="Arial Black"/>
                <a:cs typeface="Arial Black"/>
              </a:rPr>
              <a:t> </a:t>
            </a:r>
            <a:r>
              <a:rPr sz="1600" spc="-53" dirty="0">
                <a:latin typeface="Arial Black"/>
                <a:cs typeface="Arial Black"/>
              </a:rPr>
              <a:t>the</a:t>
            </a:r>
            <a:r>
              <a:rPr sz="1600" spc="-100" dirty="0">
                <a:latin typeface="Arial Black"/>
                <a:cs typeface="Arial Black"/>
              </a:rPr>
              <a:t> </a:t>
            </a:r>
            <a:r>
              <a:rPr sz="1600" spc="-63" dirty="0">
                <a:latin typeface="Arial Black"/>
                <a:cs typeface="Arial Black"/>
              </a:rPr>
              <a:t>neonatal</a:t>
            </a:r>
            <a:r>
              <a:rPr sz="1600" spc="-100" dirty="0">
                <a:latin typeface="Arial Black"/>
                <a:cs typeface="Arial Black"/>
              </a:rPr>
              <a:t> </a:t>
            </a:r>
            <a:r>
              <a:rPr sz="1600" spc="-70" dirty="0">
                <a:latin typeface="Arial Black"/>
                <a:cs typeface="Arial Black"/>
              </a:rPr>
              <a:t>intensive</a:t>
            </a:r>
            <a:r>
              <a:rPr sz="1600" spc="-97" dirty="0">
                <a:latin typeface="Arial Black"/>
                <a:cs typeface="Arial Black"/>
              </a:rPr>
              <a:t> </a:t>
            </a:r>
            <a:r>
              <a:rPr sz="1600" spc="-113" dirty="0">
                <a:latin typeface="Arial Black"/>
                <a:cs typeface="Arial Black"/>
              </a:rPr>
              <a:t>care</a:t>
            </a:r>
            <a:r>
              <a:rPr sz="1600" spc="-100" dirty="0">
                <a:latin typeface="Arial Black"/>
                <a:cs typeface="Arial Black"/>
              </a:rPr>
              <a:t> </a:t>
            </a:r>
            <a:r>
              <a:rPr sz="1600" spc="-13" dirty="0">
                <a:latin typeface="Arial Black"/>
                <a:cs typeface="Arial Black"/>
              </a:rPr>
              <a:t>unit </a:t>
            </a:r>
            <a:r>
              <a:rPr sz="1600" spc="-90" dirty="0">
                <a:latin typeface="Arial Black"/>
                <a:cs typeface="Arial Black"/>
              </a:rPr>
              <a:t>Reduction </a:t>
            </a:r>
            <a:r>
              <a:rPr sz="1600" spc="-43" dirty="0">
                <a:latin typeface="Arial Black"/>
                <a:cs typeface="Arial Black"/>
              </a:rPr>
              <a:t>of</a:t>
            </a:r>
            <a:r>
              <a:rPr sz="1600" spc="-87" dirty="0">
                <a:latin typeface="Arial Black"/>
                <a:cs typeface="Arial Black"/>
              </a:rPr>
              <a:t> </a:t>
            </a:r>
            <a:r>
              <a:rPr sz="1600" spc="-93" dirty="0">
                <a:latin typeface="Arial Black"/>
                <a:cs typeface="Arial Black"/>
              </a:rPr>
              <a:t>complications</a:t>
            </a:r>
            <a:r>
              <a:rPr sz="1600" spc="-90" dirty="0">
                <a:latin typeface="Arial Black"/>
                <a:cs typeface="Arial Black"/>
              </a:rPr>
              <a:t> </a:t>
            </a:r>
            <a:r>
              <a:rPr sz="1600" spc="-47" dirty="0">
                <a:latin typeface="Arial Black"/>
                <a:cs typeface="Arial Black"/>
              </a:rPr>
              <a:t>during</a:t>
            </a:r>
            <a:r>
              <a:rPr sz="1600" spc="-87" dirty="0">
                <a:latin typeface="Arial Black"/>
                <a:cs typeface="Arial Black"/>
              </a:rPr>
              <a:t> </a:t>
            </a:r>
            <a:r>
              <a:rPr sz="1600" spc="-50" dirty="0">
                <a:latin typeface="Arial Black"/>
                <a:cs typeface="Arial Black"/>
              </a:rPr>
              <a:t>deliveries</a:t>
            </a:r>
            <a:endParaRPr sz="1600">
              <a:latin typeface="Arial Black"/>
              <a:cs typeface="Arial Black"/>
            </a:endParaRPr>
          </a:p>
          <a:p>
            <a:pPr marL="357311">
              <a:lnSpc>
                <a:spcPct val="100000"/>
              </a:lnSpc>
              <a:spcBef>
                <a:spcPts val="183"/>
              </a:spcBef>
            </a:pPr>
            <a:r>
              <a:rPr sz="1600" spc="-90" dirty="0">
                <a:latin typeface="Arial Black"/>
                <a:cs typeface="Arial Black"/>
              </a:rPr>
              <a:t>Reduction</a:t>
            </a:r>
            <a:r>
              <a:rPr sz="1600" spc="-103" dirty="0">
                <a:latin typeface="Arial Black"/>
                <a:cs typeface="Arial Black"/>
              </a:rPr>
              <a:t> </a:t>
            </a:r>
            <a:r>
              <a:rPr sz="1600" spc="-43" dirty="0">
                <a:latin typeface="Arial Black"/>
                <a:cs typeface="Arial Black"/>
              </a:rPr>
              <a:t>of</a:t>
            </a:r>
            <a:r>
              <a:rPr sz="1600" spc="-100" dirty="0">
                <a:latin typeface="Arial Black"/>
                <a:cs typeface="Arial Black"/>
              </a:rPr>
              <a:t> </a:t>
            </a:r>
            <a:r>
              <a:rPr sz="1600" spc="-40" dirty="0">
                <a:latin typeface="Arial Black"/>
                <a:cs typeface="Arial Black"/>
              </a:rPr>
              <a:t>prematurity</a:t>
            </a:r>
            <a:r>
              <a:rPr sz="1600" spc="-103" dirty="0">
                <a:latin typeface="Arial Black"/>
                <a:cs typeface="Arial Black"/>
              </a:rPr>
              <a:t> </a:t>
            </a:r>
            <a:r>
              <a:rPr sz="1600" spc="-80" dirty="0">
                <a:latin typeface="Arial Black"/>
                <a:cs typeface="Arial Black"/>
              </a:rPr>
              <a:t>rates</a:t>
            </a:r>
            <a:r>
              <a:rPr sz="1600" spc="-100" dirty="0">
                <a:latin typeface="Arial Black"/>
                <a:cs typeface="Arial Black"/>
              </a:rPr>
              <a:t> </a:t>
            </a:r>
            <a:r>
              <a:rPr sz="1600" spc="-33" dirty="0">
                <a:latin typeface="Arial Black"/>
                <a:cs typeface="Arial Black"/>
              </a:rPr>
              <a:t>that</a:t>
            </a:r>
            <a:r>
              <a:rPr sz="1600" spc="-100" dirty="0">
                <a:latin typeface="Arial Black"/>
                <a:cs typeface="Arial Black"/>
              </a:rPr>
              <a:t> </a:t>
            </a:r>
            <a:r>
              <a:rPr sz="1600" spc="-120" dirty="0">
                <a:latin typeface="Arial Black"/>
                <a:cs typeface="Arial Black"/>
              </a:rPr>
              <a:t>can</a:t>
            </a:r>
            <a:r>
              <a:rPr sz="1600" spc="-103" dirty="0">
                <a:latin typeface="Arial Black"/>
                <a:cs typeface="Arial Black"/>
              </a:rPr>
              <a:t> </a:t>
            </a:r>
            <a:r>
              <a:rPr sz="1600" spc="-80" dirty="0">
                <a:latin typeface="Arial Black"/>
                <a:cs typeface="Arial Black"/>
              </a:rPr>
              <a:t>lead</a:t>
            </a:r>
            <a:r>
              <a:rPr sz="1600" spc="-100" dirty="0">
                <a:latin typeface="Arial Black"/>
                <a:cs typeface="Arial Black"/>
              </a:rPr>
              <a:t> </a:t>
            </a:r>
            <a:r>
              <a:rPr sz="1600" spc="-47" dirty="0">
                <a:latin typeface="Arial Black"/>
                <a:cs typeface="Arial Black"/>
              </a:rPr>
              <a:t>to</a:t>
            </a:r>
            <a:r>
              <a:rPr sz="1600" spc="-100" dirty="0">
                <a:latin typeface="Arial Black"/>
                <a:cs typeface="Arial Black"/>
              </a:rPr>
              <a:t> </a:t>
            </a:r>
            <a:r>
              <a:rPr sz="1600" spc="-33" dirty="0">
                <a:latin typeface="Arial Black"/>
                <a:cs typeface="Arial Black"/>
              </a:rPr>
              <a:t>infant</a:t>
            </a:r>
            <a:r>
              <a:rPr sz="1600" spc="-103" dirty="0">
                <a:latin typeface="Arial Black"/>
                <a:cs typeface="Arial Black"/>
              </a:rPr>
              <a:t> </a:t>
            </a:r>
            <a:r>
              <a:rPr sz="1600" spc="-7" dirty="0">
                <a:latin typeface="Arial Black"/>
                <a:cs typeface="Arial Black"/>
              </a:rPr>
              <a:t>mortality</a:t>
            </a:r>
            <a:endParaRPr sz="1600">
              <a:latin typeface="Arial Black"/>
              <a:cs typeface="Arial Black"/>
            </a:endParaRPr>
          </a:p>
          <a:p>
            <a:pPr marL="357311" marR="3387">
              <a:lnSpc>
                <a:spcPts val="2233"/>
              </a:lnSpc>
              <a:spcBef>
                <a:spcPts val="127"/>
              </a:spcBef>
            </a:pPr>
            <a:r>
              <a:rPr sz="1600" spc="-57" dirty="0">
                <a:latin typeface="Arial Black"/>
                <a:cs typeface="Arial Black"/>
              </a:rPr>
              <a:t>Reduction</a:t>
            </a:r>
            <a:r>
              <a:rPr sz="1600" spc="17" dirty="0">
                <a:latin typeface="Arial Black"/>
                <a:cs typeface="Arial Black"/>
              </a:rPr>
              <a:t> </a:t>
            </a:r>
            <a:r>
              <a:rPr sz="1600" dirty="0">
                <a:latin typeface="Arial Black"/>
                <a:cs typeface="Arial Black"/>
              </a:rPr>
              <a:t>in</a:t>
            </a:r>
            <a:r>
              <a:rPr sz="1600" spc="17" dirty="0">
                <a:latin typeface="Arial Black"/>
                <a:cs typeface="Arial Black"/>
              </a:rPr>
              <a:t> </a:t>
            </a:r>
            <a:r>
              <a:rPr sz="1600" spc="-90" dirty="0">
                <a:latin typeface="Arial Black"/>
                <a:cs typeface="Arial Black"/>
              </a:rPr>
              <a:t>costs</a:t>
            </a:r>
            <a:r>
              <a:rPr sz="1600" spc="20" dirty="0">
                <a:latin typeface="Arial Black"/>
                <a:cs typeface="Arial Black"/>
              </a:rPr>
              <a:t> </a:t>
            </a:r>
            <a:r>
              <a:rPr sz="1600" spc="-90" dirty="0">
                <a:latin typeface="Arial Black"/>
                <a:cs typeface="Arial Black"/>
              </a:rPr>
              <a:t>associated</a:t>
            </a:r>
            <a:r>
              <a:rPr sz="1600" spc="17" dirty="0">
                <a:latin typeface="Arial Black"/>
                <a:cs typeface="Arial Black"/>
              </a:rPr>
              <a:t> </a:t>
            </a:r>
            <a:r>
              <a:rPr sz="1600" dirty="0">
                <a:latin typeface="Arial Black"/>
                <a:cs typeface="Arial Black"/>
              </a:rPr>
              <a:t>with</a:t>
            </a:r>
            <a:r>
              <a:rPr sz="1600" spc="20" dirty="0">
                <a:latin typeface="Arial Black"/>
                <a:cs typeface="Arial Black"/>
              </a:rPr>
              <a:t> </a:t>
            </a:r>
            <a:r>
              <a:rPr sz="1600" spc="-27" dirty="0">
                <a:latin typeface="Arial Black"/>
                <a:cs typeface="Arial Black"/>
              </a:rPr>
              <a:t>lengthy</a:t>
            </a:r>
            <a:r>
              <a:rPr sz="1600" spc="17" dirty="0">
                <a:latin typeface="Arial Black"/>
                <a:cs typeface="Arial Black"/>
              </a:rPr>
              <a:t> </a:t>
            </a:r>
            <a:r>
              <a:rPr sz="1600" spc="-37" dirty="0">
                <a:latin typeface="Arial Black"/>
                <a:cs typeface="Arial Black"/>
              </a:rPr>
              <a:t>hospital</a:t>
            </a:r>
            <a:r>
              <a:rPr sz="1600" spc="20" dirty="0">
                <a:latin typeface="Arial Black"/>
                <a:cs typeface="Arial Black"/>
              </a:rPr>
              <a:t> </a:t>
            </a:r>
            <a:r>
              <a:rPr sz="1600" spc="-57" dirty="0">
                <a:latin typeface="Arial Black"/>
                <a:cs typeface="Arial Black"/>
              </a:rPr>
              <a:t>stays</a:t>
            </a:r>
            <a:r>
              <a:rPr sz="1600" spc="17" dirty="0">
                <a:latin typeface="Arial Black"/>
                <a:cs typeface="Arial Black"/>
              </a:rPr>
              <a:t> </a:t>
            </a:r>
            <a:r>
              <a:rPr sz="1600" dirty="0">
                <a:latin typeface="Arial Black"/>
                <a:cs typeface="Arial Black"/>
              </a:rPr>
              <a:t>due</a:t>
            </a:r>
            <a:r>
              <a:rPr sz="1600" spc="20" dirty="0">
                <a:latin typeface="Arial Black"/>
                <a:cs typeface="Arial Black"/>
              </a:rPr>
              <a:t> </a:t>
            </a:r>
            <a:r>
              <a:rPr sz="1600" dirty="0">
                <a:latin typeface="Arial Black"/>
                <a:cs typeface="Arial Black"/>
              </a:rPr>
              <a:t>to</a:t>
            </a:r>
            <a:r>
              <a:rPr sz="1600" spc="17" dirty="0">
                <a:latin typeface="Arial Black"/>
                <a:cs typeface="Arial Black"/>
              </a:rPr>
              <a:t> </a:t>
            </a:r>
            <a:r>
              <a:rPr sz="1600" spc="-33" dirty="0">
                <a:latin typeface="Arial Black"/>
                <a:cs typeface="Arial Black"/>
              </a:rPr>
              <a:t>pregnancy </a:t>
            </a:r>
            <a:r>
              <a:rPr sz="1600" spc="-63" dirty="0">
                <a:latin typeface="Arial Black"/>
                <a:cs typeface="Arial Black"/>
              </a:rPr>
              <a:t>related</a:t>
            </a:r>
            <a:r>
              <a:rPr sz="1600" spc="-103" dirty="0">
                <a:latin typeface="Arial Black"/>
                <a:cs typeface="Arial Black"/>
              </a:rPr>
              <a:t> </a:t>
            </a:r>
            <a:r>
              <a:rPr sz="1600" spc="-37" dirty="0">
                <a:latin typeface="Arial Black"/>
                <a:cs typeface="Arial Black"/>
              </a:rPr>
              <a:t>complications</a:t>
            </a:r>
            <a:endParaRPr sz="1600">
              <a:latin typeface="Arial Black"/>
              <a:cs typeface="Arial Black"/>
            </a:endParaRPr>
          </a:p>
          <a:p>
            <a:pPr marL="357311">
              <a:lnSpc>
                <a:spcPct val="100000"/>
              </a:lnSpc>
              <a:spcBef>
                <a:spcPts val="183"/>
              </a:spcBef>
              <a:tabLst>
                <a:tab pos="1525770" algn="l"/>
                <a:tab pos="1850059" algn="l"/>
                <a:tab pos="2803877" algn="l"/>
                <a:tab pos="4115429" algn="l"/>
                <a:tab pos="5286428" algn="l"/>
                <a:tab pos="6379106" algn="l"/>
                <a:tab pos="6895175" algn="l"/>
                <a:tab pos="7741037" algn="l"/>
              </a:tabLst>
            </a:pPr>
            <a:r>
              <a:rPr sz="1600" spc="-7" dirty="0">
                <a:latin typeface="Arial Black"/>
                <a:cs typeface="Arial Black"/>
              </a:rPr>
              <a:t>Reduction</a:t>
            </a:r>
            <a:r>
              <a:rPr sz="1600" dirty="0">
                <a:latin typeface="Arial Black"/>
                <a:cs typeface="Arial Black"/>
              </a:rPr>
              <a:t>	</a:t>
            </a:r>
            <a:r>
              <a:rPr sz="1600" spc="-17" dirty="0">
                <a:latin typeface="Arial Black"/>
                <a:cs typeface="Arial Black"/>
              </a:rPr>
              <a:t>in</a:t>
            </a:r>
            <a:r>
              <a:rPr sz="1600" dirty="0">
                <a:latin typeface="Arial Black"/>
                <a:cs typeface="Arial Black"/>
              </a:rPr>
              <a:t>	</a:t>
            </a:r>
            <a:r>
              <a:rPr sz="1600" spc="-7" dirty="0">
                <a:latin typeface="Arial Black"/>
                <a:cs typeface="Arial Black"/>
              </a:rPr>
              <a:t>anxiety,</a:t>
            </a:r>
            <a:r>
              <a:rPr sz="1600" dirty="0">
                <a:latin typeface="Arial Black"/>
                <a:cs typeface="Arial Black"/>
              </a:rPr>
              <a:t>	</a:t>
            </a:r>
            <a:r>
              <a:rPr sz="1600" spc="-7" dirty="0">
                <a:latin typeface="Arial Black"/>
                <a:cs typeface="Arial Black"/>
              </a:rPr>
              <a:t>depression,</a:t>
            </a:r>
            <a:r>
              <a:rPr sz="1600" dirty="0">
                <a:latin typeface="Arial Black"/>
                <a:cs typeface="Arial Black"/>
              </a:rPr>
              <a:t>	</a:t>
            </a:r>
            <a:r>
              <a:rPr sz="1600" spc="-7" dirty="0">
                <a:latin typeface="Arial Black"/>
                <a:cs typeface="Arial Black"/>
              </a:rPr>
              <a:t>substance</a:t>
            </a:r>
            <a:r>
              <a:rPr sz="1600" dirty="0">
                <a:latin typeface="Arial Black"/>
                <a:cs typeface="Arial Black"/>
              </a:rPr>
              <a:t>	</a:t>
            </a:r>
            <a:r>
              <a:rPr sz="1600" spc="-7" dirty="0">
                <a:latin typeface="Arial Black"/>
                <a:cs typeface="Arial Black"/>
              </a:rPr>
              <a:t>addiction</a:t>
            </a:r>
            <a:r>
              <a:rPr sz="1600" dirty="0">
                <a:latin typeface="Arial Black"/>
                <a:cs typeface="Arial Black"/>
              </a:rPr>
              <a:t>	</a:t>
            </a:r>
            <a:r>
              <a:rPr sz="1600" spc="-17" dirty="0">
                <a:latin typeface="Arial Black"/>
                <a:cs typeface="Arial Black"/>
              </a:rPr>
              <a:t>and</a:t>
            </a:r>
            <a:r>
              <a:rPr sz="1600" dirty="0">
                <a:latin typeface="Arial Black"/>
                <a:cs typeface="Arial Black"/>
              </a:rPr>
              <a:t>	</a:t>
            </a:r>
            <a:r>
              <a:rPr sz="1600" spc="-7" dirty="0">
                <a:latin typeface="Arial Black"/>
                <a:cs typeface="Arial Black"/>
              </a:rPr>
              <a:t>suicide</a:t>
            </a:r>
            <a:r>
              <a:rPr sz="1600" dirty="0">
                <a:latin typeface="Arial Black"/>
                <a:cs typeface="Arial Black"/>
              </a:rPr>
              <a:t>	</a:t>
            </a:r>
            <a:r>
              <a:rPr sz="1600" spc="-63" dirty="0">
                <a:latin typeface="Arial Black"/>
                <a:cs typeface="Arial Black"/>
              </a:rPr>
              <a:t>among</a:t>
            </a:r>
            <a:endParaRPr sz="1600">
              <a:latin typeface="Arial Black"/>
              <a:cs typeface="Arial Black"/>
            </a:endParaRPr>
          </a:p>
          <a:p>
            <a:pPr marL="357311">
              <a:lnSpc>
                <a:spcPct val="100000"/>
              </a:lnSpc>
              <a:spcBef>
                <a:spcPts val="313"/>
              </a:spcBef>
            </a:pPr>
            <a:r>
              <a:rPr sz="1600" spc="-43" dirty="0">
                <a:latin typeface="Arial Black"/>
                <a:cs typeface="Arial Black"/>
              </a:rPr>
              <a:t>birthing</a:t>
            </a:r>
            <a:r>
              <a:rPr sz="1600" spc="-93" dirty="0">
                <a:latin typeface="Arial Black"/>
                <a:cs typeface="Arial Black"/>
              </a:rPr>
              <a:t> </a:t>
            </a:r>
            <a:r>
              <a:rPr sz="1600" spc="-7" dirty="0">
                <a:latin typeface="Arial Black"/>
                <a:cs typeface="Arial Black"/>
              </a:rPr>
              <a:t>families</a:t>
            </a:r>
            <a:endParaRPr sz="1600">
              <a:latin typeface="Arial Black"/>
              <a:cs typeface="Arial Black"/>
            </a:endParaRPr>
          </a:p>
          <a:p>
            <a:pPr marL="357311">
              <a:lnSpc>
                <a:spcPct val="100000"/>
              </a:lnSpc>
              <a:spcBef>
                <a:spcPts val="310"/>
              </a:spcBef>
            </a:pPr>
            <a:r>
              <a:rPr sz="1600" spc="-90" dirty="0">
                <a:latin typeface="Arial Black"/>
                <a:cs typeface="Arial Black"/>
              </a:rPr>
              <a:t>Reduction</a:t>
            </a:r>
            <a:r>
              <a:rPr sz="1600" spc="-100" dirty="0">
                <a:latin typeface="Arial Black"/>
                <a:cs typeface="Arial Black"/>
              </a:rPr>
              <a:t> </a:t>
            </a:r>
            <a:r>
              <a:rPr sz="1600" spc="-27" dirty="0">
                <a:latin typeface="Arial Black"/>
                <a:cs typeface="Arial Black"/>
              </a:rPr>
              <a:t>in</a:t>
            </a:r>
            <a:r>
              <a:rPr sz="1600" spc="-100" dirty="0">
                <a:latin typeface="Arial Black"/>
                <a:cs typeface="Arial Black"/>
              </a:rPr>
              <a:t> </a:t>
            </a:r>
            <a:r>
              <a:rPr sz="1600" spc="-43" dirty="0">
                <a:latin typeface="Arial Black"/>
                <a:cs typeface="Arial Black"/>
              </a:rPr>
              <a:t>birthing</a:t>
            </a:r>
            <a:r>
              <a:rPr sz="1600" spc="-100" dirty="0">
                <a:latin typeface="Arial Black"/>
                <a:cs typeface="Arial Black"/>
              </a:rPr>
              <a:t> </a:t>
            </a:r>
            <a:r>
              <a:rPr sz="1600" spc="-107" dirty="0">
                <a:latin typeface="Arial Black"/>
                <a:cs typeface="Arial Black"/>
              </a:rPr>
              <a:t>experiences</a:t>
            </a:r>
            <a:r>
              <a:rPr sz="1600" spc="-100" dirty="0">
                <a:latin typeface="Arial Black"/>
                <a:cs typeface="Arial Black"/>
              </a:rPr>
              <a:t> </a:t>
            </a:r>
            <a:r>
              <a:rPr sz="1600" spc="-80" dirty="0">
                <a:latin typeface="Arial Black"/>
                <a:cs typeface="Arial Black"/>
              </a:rPr>
              <a:t>plagued</a:t>
            </a:r>
            <a:r>
              <a:rPr sz="1600" spc="-100" dirty="0">
                <a:latin typeface="Arial Black"/>
                <a:cs typeface="Arial Black"/>
              </a:rPr>
              <a:t> </a:t>
            </a:r>
            <a:r>
              <a:rPr sz="1600" spc="-63" dirty="0">
                <a:latin typeface="Arial Black"/>
                <a:cs typeface="Arial Black"/>
              </a:rPr>
              <a:t>by</a:t>
            </a:r>
            <a:r>
              <a:rPr sz="1600" spc="-100" dirty="0">
                <a:latin typeface="Arial Black"/>
                <a:cs typeface="Arial Black"/>
              </a:rPr>
              <a:t> </a:t>
            </a:r>
            <a:r>
              <a:rPr sz="1600" spc="-40" dirty="0">
                <a:latin typeface="Arial Black"/>
                <a:cs typeface="Arial Black"/>
              </a:rPr>
              <a:t>trauma</a:t>
            </a:r>
            <a:r>
              <a:rPr sz="1600" spc="-100" dirty="0">
                <a:latin typeface="Arial Black"/>
                <a:cs typeface="Arial Black"/>
              </a:rPr>
              <a:t> </a:t>
            </a:r>
            <a:r>
              <a:rPr sz="1600" spc="-217" dirty="0">
                <a:latin typeface="Arial Black"/>
                <a:cs typeface="Arial Black"/>
              </a:rPr>
              <a:t>&amp;</a:t>
            </a:r>
            <a:r>
              <a:rPr sz="1600" spc="-100" dirty="0">
                <a:latin typeface="Arial Black"/>
                <a:cs typeface="Arial Black"/>
              </a:rPr>
              <a:t> </a:t>
            </a:r>
            <a:r>
              <a:rPr sz="1600" spc="-7" dirty="0">
                <a:latin typeface="Arial Black"/>
                <a:cs typeface="Arial Black"/>
              </a:rPr>
              <a:t>disrespect</a:t>
            </a:r>
            <a:endParaRPr sz="1600">
              <a:latin typeface="Arial Black"/>
              <a:cs typeface="Arial Black"/>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6" name="object 6"/>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pic>
        <p:nvPicPr>
          <p:cNvPr id="7" name="object 7"/>
          <p:cNvPicPr/>
          <p:nvPr/>
        </p:nvPicPr>
        <p:blipFill>
          <a:blip r:embed="rId5" cstate="email">
            <a:extLst>
              <a:ext uri="{28A0092B-C50C-407E-A947-70E740481C1C}">
                <a14:useLocalDpi xmlns:a14="http://schemas.microsoft.com/office/drawing/2010/main"/>
              </a:ext>
            </a:extLst>
          </a:blip>
          <a:stretch>
            <a:fillRect/>
          </a:stretch>
        </p:blipFill>
        <p:spPr>
          <a:xfrm>
            <a:off x="691766" y="1357462"/>
            <a:ext cx="117673" cy="117673"/>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875868" y="1357462"/>
            <a:ext cx="117673" cy="117673"/>
          </a:xfrm>
          <a:prstGeom prst="rect">
            <a:avLst/>
          </a:prstGeom>
        </p:spPr>
      </p:pic>
      <p:pic>
        <p:nvPicPr>
          <p:cNvPr id="9" name="object 9"/>
          <p:cNvPicPr/>
          <p:nvPr/>
        </p:nvPicPr>
        <p:blipFill>
          <a:blip r:embed="rId6" cstate="email">
            <a:extLst>
              <a:ext uri="{28A0092B-C50C-407E-A947-70E740481C1C}">
                <a14:useLocalDpi xmlns:a14="http://schemas.microsoft.com/office/drawing/2010/main"/>
              </a:ext>
            </a:extLst>
          </a:blip>
          <a:stretch>
            <a:fillRect/>
          </a:stretch>
        </p:blipFill>
        <p:spPr>
          <a:xfrm>
            <a:off x="1059970" y="1357462"/>
            <a:ext cx="117673" cy="117673"/>
          </a:xfrm>
          <a:prstGeom prst="rect">
            <a:avLst/>
          </a:prstGeom>
        </p:spPr>
      </p:pic>
      <p:pic>
        <p:nvPicPr>
          <p:cNvPr id="10" name="object 10"/>
          <p:cNvPicPr/>
          <p:nvPr/>
        </p:nvPicPr>
        <p:blipFill>
          <a:blip r:embed="rId6" cstate="email">
            <a:extLst>
              <a:ext uri="{28A0092B-C50C-407E-A947-70E740481C1C}">
                <a14:useLocalDpi xmlns:a14="http://schemas.microsoft.com/office/drawing/2010/main"/>
              </a:ext>
            </a:extLst>
          </a:blip>
          <a:stretch>
            <a:fillRect/>
          </a:stretch>
        </p:blipFill>
        <p:spPr>
          <a:xfrm>
            <a:off x="1244072" y="1357462"/>
            <a:ext cx="117673" cy="117673"/>
          </a:xfrm>
          <a:prstGeom prst="rect">
            <a:avLst/>
          </a:prstGeom>
        </p:spPr>
      </p:pic>
      <p:pic>
        <p:nvPicPr>
          <p:cNvPr id="11" name="object 11"/>
          <p:cNvPicPr/>
          <p:nvPr/>
        </p:nvPicPr>
        <p:blipFill>
          <a:blip r:embed="rId7" cstate="email">
            <a:extLst>
              <a:ext uri="{28A0092B-C50C-407E-A947-70E740481C1C}">
                <a14:useLocalDpi xmlns:a14="http://schemas.microsoft.com/office/drawing/2010/main"/>
              </a:ext>
            </a:extLst>
          </a:blip>
          <a:stretch>
            <a:fillRect/>
          </a:stretch>
        </p:blipFill>
        <p:spPr>
          <a:xfrm>
            <a:off x="1428174" y="1357462"/>
            <a:ext cx="117673" cy="117673"/>
          </a:xfrm>
          <a:prstGeom prst="rect">
            <a:avLst/>
          </a:prstGeom>
        </p:spPr>
      </p:pic>
      <p:pic>
        <p:nvPicPr>
          <p:cNvPr id="12" name="object 12"/>
          <p:cNvPicPr/>
          <p:nvPr/>
        </p:nvPicPr>
        <p:blipFill>
          <a:blip r:embed="rId8" cstate="email">
            <a:extLst>
              <a:ext uri="{28A0092B-C50C-407E-A947-70E740481C1C}">
                <a14:useLocalDpi xmlns:a14="http://schemas.microsoft.com/office/drawing/2010/main"/>
              </a:ext>
            </a:extLst>
          </a:blip>
          <a:stretch>
            <a:fillRect/>
          </a:stretch>
        </p:blipFill>
        <p:spPr>
          <a:xfrm>
            <a:off x="7043992" y="1298590"/>
            <a:ext cx="117673" cy="117673"/>
          </a:xfrm>
          <a:prstGeom prst="rect">
            <a:avLst/>
          </a:prstGeom>
        </p:spPr>
      </p:pic>
      <p:pic>
        <p:nvPicPr>
          <p:cNvPr id="13" name="object 13"/>
          <p:cNvPicPr/>
          <p:nvPr/>
        </p:nvPicPr>
        <p:blipFill>
          <a:blip r:embed="rId9" cstate="email">
            <a:extLst>
              <a:ext uri="{28A0092B-C50C-407E-A947-70E740481C1C}">
                <a14:useLocalDpi xmlns:a14="http://schemas.microsoft.com/office/drawing/2010/main"/>
              </a:ext>
            </a:extLst>
          </a:blip>
          <a:stretch>
            <a:fillRect/>
          </a:stretch>
        </p:blipFill>
        <p:spPr>
          <a:xfrm>
            <a:off x="7228094" y="1298590"/>
            <a:ext cx="117673" cy="117673"/>
          </a:xfrm>
          <a:prstGeom prst="rect">
            <a:avLst/>
          </a:prstGeom>
        </p:spPr>
      </p:pic>
      <p:pic>
        <p:nvPicPr>
          <p:cNvPr id="14" name="object 14"/>
          <p:cNvPicPr/>
          <p:nvPr/>
        </p:nvPicPr>
        <p:blipFill>
          <a:blip r:embed="rId9" cstate="email">
            <a:extLst>
              <a:ext uri="{28A0092B-C50C-407E-A947-70E740481C1C}">
                <a14:useLocalDpi xmlns:a14="http://schemas.microsoft.com/office/drawing/2010/main"/>
              </a:ext>
            </a:extLst>
          </a:blip>
          <a:stretch>
            <a:fillRect/>
          </a:stretch>
        </p:blipFill>
        <p:spPr>
          <a:xfrm>
            <a:off x="7412196" y="1298590"/>
            <a:ext cx="117673" cy="117673"/>
          </a:xfrm>
          <a:prstGeom prst="rect">
            <a:avLst/>
          </a:prstGeom>
        </p:spPr>
      </p:pic>
      <p:pic>
        <p:nvPicPr>
          <p:cNvPr id="15" name="object 15"/>
          <p:cNvPicPr/>
          <p:nvPr/>
        </p:nvPicPr>
        <p:blipFill>
          <a:blip r:embed="rId9" cstate="email">
            <a:extLst>
              <a:ext uri="{28A0092B-C50C-407E-A947-70E740481C1C}">
                <a14:useLocalDpi xmlns:a14="http://schemas.microsoft.com/office/drawing/2010/main"/>
              </a:ext>
            </a:extLst>
          </a:blip>
          <a:stretch>
            <a:fillRect/>
          </a:stretch>
        </p:blipFill>
        <p:spPr>
          <a:xfrm>
            <a:off x="7596298" y="1298590"/>
            <a:ext cx="117673" cy="117673"/>
          </a:xfrm>
          <a:prstGeom prst="rect">
            <a:avLst/>
          </a:prstGeom>
        </p:spPr>
      </p:pic>
      <p:pic>
        <p:nvPicPr>
          <p:cNvPr id="16" name="object 16"/>
          <p:cNvPicPr/>
          <p:nvPr/>
        </p:nvPicPr>
        <p:blipFill>
          <a:blip r:embed="rId9" cstate="email">
            <a:extLst>
              <a:ext uri="{28A0092B-C50C-407E-A947-70E740481C1C}">
                <a14:useLocalDpi xmlns:a14="http://schemas.microsoft.com/office/drawing/2010/main"/>
              </a:ext>
            </a:extLst>
          </a:blip>
          <a:stretch>
            <a:fillRect/>
          </a:stretch>
        </p:blipFill>
        <p:spPr>
          <a:xfrm>
            <a:off x="7780400" y="1298590"/>
            <a:ext cx="117673" cy="117673"/>
          </a:xfrm>
          <a:prstGeom prst="rect">
            <a:avLst/>
          </a:prstGeom>
        </p:spPr>
      </p:pic>
      <p:pic>
        <p:nvPicPr>
          <p:cNvPr id="17" name="object 17"/>
          <p:cNvPicPr/>
          <p:nvPr/>
        </p:nvPicPr>
        <p:blipFill>
          <a:blip r:embed="rId10" cstate="email">
            <a:extLst>
              <a:ext uri="{28A0092B-C50C-407E-A947-70E740481C1C}">
                <a14:useLocalDpi xmlns:a14="http://schemas.microsoft.com/office/drawing/2010/main"/>
              </a:ext>
            </a:extLst>
          </a:blip>
          <a:stretch>
            <a:fillRect/>
          </a:stretch>
        </p:blipFill>
        <p:spPr>
          <a:xfrm>
            <a:off x="5339110" y="1475204"/>
            <a:ext cx="753872" cy="784324"/>
          </a:xfrm>
          <a:prstGeom prst="rect">
            <a:avLst/>
          </a:prstGeom>
        </p:spPr>
      </p:pic>
      <p:sp>
        <p:nvSpPr>
          <p:cNvPr id="51" name="object 51"/>
          <p:cNvSpPr txBox="1">
            <a:spLocks noGrp="1"/>
          </p:cNvSpPr>
          <p:nvPr>
            <p:ph type="title"/>
          </p:nvPr>
        </p:nvSpPr>
        <p:spPr>
          <a:prstGeom prst="rect">
            <a:avLst/>
          </a:prstGeom>
        </p:spPr>
        <p:txBody>
          <a:bodyPr vert="horz" wrap="square" lIns="0" tIns="8467" rIns="0" bIns="0" rtlCol="0">
            <a:spAutoFit/>
          </a:bodyPr>
          <a:lstStyle/>
          <a:p>
            <a:pPr marL="8467">
              <a:lnSpc>
                <a:spcPct val="100000"/>
              </a:lnSpc>
              <a:spcBef>
                <a:spcPts val="67"/>
              </a:spcBef>
            </a:pPr>
            <a:r>
              <a:rPr dirty="0"/>
              <a:t>Doula</a:t>
            </a:r>
            <a:r>
              <a:rPr spc="-220" dirty="0"/>
              <a:t> </a:t>
            </a:r>
            <a:r>
              <a:rPr spc="63" dirty="0"/>
              <a:t>Lab</a:t>
            </a:r>
            <a:r>
              <a:rPr spc="-220" dirty="0"/>
              <a:t> </a:t>
            </a:r>
            <a:r>
              <a:rPr spc="53" dirty="0"/>
              <a:t>Services</a:t>
            </a:r>
          </a:p>
        </p:txBody>
      </p:sp>
      <p:sp>
        <p:nvSpPr>
          <p:cNvPr id="52" name="object 52"/>
          <p:cNvSpPr txBox="1"/>
          <p:nvPr/>
        </p:nvSpPr>
        <p:spPr>
          <a:xfrm>
            <a:off x="677334" y="3088229"/>
            <a:ext cx="3819737" cy="1134533"/>
          </a:xfrm>
          <a:prstGeom prst="rect">
            <a:avLst/>
          </a:prstGeom>
        </p:spPr>
        <p:txBody>
          <a:bodyPr vert="horz" wrap="square" lIns="0" tIns="8467" rIns="0" bIns="0" rtlCol="0">
            <a:spAutoFit/>
          </a:bodyPr>
          <a:lstStyle/>
          <a:p>
            <a:pPr marL="8467" marR="3387" algn="just">
              <a:lnSpc>
                <a:spcPct val="114599"/>
              </a:lnSpc>
              <a:spcBef>
                <a:spcPts val="67"/>
              </a:spcBef>
            </a:pPr>
            <a:r>
              <a:rPr sz="1600" spc="-83" dirty="0">
                <a:latin typeface="Arial Black"/>
                <a:cs typeface="Arial Black"/>
              </a:rPr>
              <a:t>resources</a:t>
            </a:r>
            <a:r>
              <a:rPr sz="1600" spc="-10" dirty="0">
                <a:latin typeface="Arial Black"/>
                <a:cs typeface="Arial Black"/>
              </a:rPr>
              <a:t> </a:t>
            </a:r>
            <a:r>
              <a:rPr sz="1600" dirty="0">
                <a:latin typeface="Arial Black"/>
                <a:cs typeface="Arial Black"/>
              </a:rPr>
              <a:t>to</a:t>
            </a:r>
            <a:r>
              <a:rPr sz="1600" spc="-10" dirty="0">
                <a:latin typeface="Arial Black"/>
                <a:cs typeface="Arial Black"/>
              </a:rPr>
              <a:t> </a:t>
            </a:r>
            <a:r>
              <a:rPr sz="1600" spc="-13" dirty="0">
                <a:latin typeface="Arial Black"/>
                <a:cs typeface="Arial Black"/>
              </a:rPr>
              <a:t>families/</a:t>
            </a:r>
            <a:r>
              <a:rPr sz="1600" spc="-7" dirty="0">
                <a:latin typeface="Arial Black"/>
                <a:cs typeface="Arial Black"/>
              </a:rPr>
              <a:t> </a:t>
            </a:r>
            <a:r>
              <a:rPr sz="1600" spc="-43" dirty="0">
                <a:latin typeface="Arial Black"/>
                <a:cs typeface="Arial Black"/>
              </a:rPr>
              <a:t>individuals</a:t>
            </a:r>
            <a:r>
              <a:rPr sz="1600" spc="-10" dirty="0">
                <a:latin typeface="Arial Black"/>
                <a:cs typeface="Arial Black"/>
              </a:rPr>
              <a:t> </a:t>
            </a:r>
            <a:r>
              <a:rPr sz="1600" spc="-17" dirty="0">
                <a:latin typeface="Arial Black"/>
                <a:cs typeface="Arial Black"/>
              </a:rPr>
              <a:t>to </a:t>
            </a:r>
            <a:r>
              <a:rPr sz="1600" spc="-80" dirty="0">
                <a:latin typeface="Arial Black"/>
                <a:cs typeface="Arial Black"/>
              </a:rPr>
              <a:t>meet</a:t>
            </a:r>
            <a:r>
              <a:rPr sz="1600" spc="-53" dirty="0">
                <a:latin typeface="Arial Black"/>
                <a:cs typeface="Arial Black"/>
              </a:rPr>
              <a:t> </a:t>
            </a:r>
            <a:r>
              <a:rPr sz="1600" spc="-37" dirty="0">
                <a:latin typeface="Arial Black"/>
                <a:cs typeface="Arial Black"/>
              </a:rPr>
              <a:t>their</a:t>
            </a:r>
            <a:r>
              <a:rPr sz="1600" spc="-50" dirty="0">
                <a:latin typeface="Arial Black"/>
                <a:cs typeface="Arial Black"/>
              </a:rPr>
              <a:t> </a:t>
            </a:r>
            <a:r>
              <a:rPr sz="1600" spc="-150" dirty="0">
                <a:latin typeface="Arial Black"/>
                <a:cs typeface="Arial Black"/>
              </a:rPr>
              <a:t>SDOH</a:t>
            </a:r>
            <a:r>
              <a:rPr sz="1600" spc="17" dirty="0">
                <a:latin typeface="Arial Black"/>
                <a:cs typeface="Arial Black"/>
              </a:rPr>
              <a:t> </a:t>
            </a:r>
            <a:r>
              <a:rPr sz="1600" spc="-110" dirty="0">
                <a:latin typeface="Arial Black"/>
                <a:cs typeface="Arial Black"/>
              </a:rPr>
              <a:t>needs.</a:t>
            </a:r>
            <a:r>
              <a:rPr sz="1600" spc="3" dirty="0">
                <a:latin typeface="Arial Black"/>
                <a:cs typeface="Arial Black"/>
              </a:rPr>
              <a:t> </a:t>
            </a:r>
            <a:r>
              <a:rPr sz="1600" spc="-230" dirty="0">
                <a:latin typeface="Arial Black"/>
                <a:cs typeface="Arial Black"/>
              </a:rPr>
              <a:t>EX:</a:t>
            </a:r>
            <a:r>
              <a:rPr sz="1600" spc="97" dirty="0">
                <a:latin typeface="Arial Black"/>
                <a:cs typeface="Arial Black"/>
              </a:rPr>
              <a:t> </a:t>
            </a:r>
            <a:r>
              <a:rPr sz="1600" spc="-70" dirty="0">
                <a:latin typeface="Arial Black"/>
                <a:cs typeface="Arial Black"/>
              </a:rPr>
              <a:t>Medicaid </a:t>
            </a:r>
            <a:r>
              <a:rPr sz="1600" spc="-37" dirty="0">
                <a:latin typeface="Arial Black"/>
                <a:cs typeface="Arial Black"/>
              </a:rPr>
              <a:t>enrollment,</a:t>
            </a:r>
            <a:r>
              <a:rPr sz="1600" spc="-90" dirty="0">
                <a:latin typeface="Arial Black"/>
                <a:cs typeface="Arial Black"/>
              </a:rPr>
              <a:t> </a:t>
            </a:r>
            <a:r>
              <a:rPr sz="1600" spc="-57" dirty="0">
                <a:latin typeface="Arial Black"/>
                <a:cs typeface="Arial Black"/>
              </a:rPr>
              <a:t>snap,,</a:t>
            </a:r>
            <a:r>
              <a:rPr sz="1600" spc="-76" dirty="0">
                <a:latin typeface="Arial Black"/>
                <a:cs typeface="Arial Black"/>
              </a:rPr>
              <a:t> </a:t>
            </a:r>
            <a:r>
              <a:rPr sz="1600" dirty="0">
                <a:latin typeface="Arial Black"/>
                <a:cs typeface="Arial Black"/>
              </a:rPr>
              <a:t>food</a:t>
            </a:r>
            <a:r>
              <a:rPr sz="1600" spc="-80" dirty="0">
                <a:latin typeface="Arial Black"/>
                <a:cs typeface="Arial Black"/>
              </a:rPr>
              <a:t> </a:t>
            </a:r>
            <a:r>
              <a:rPr sz="1600" spc="-50" dirty="0">
                <a:latin typeface="Arial Black"/>
                <a:cs typeface="Arial Black"/>
              </a:rPr>
              <a:t>pantry’s</a:t>
            </a:r>
            <a:r>
              <a:rPr sz="1600" spc="-83" dirty="0">
                <a:latin typeface="Arial Black"/>
                <a:cs typeface="Arial Black"/>
              </a:rPr>
              <a:t> </a:t>
            </a:r>
            <a:r>
              <a:rPr sz="1600" spc="-17" dirty="0">
                <a:latin typeface="Arial Black"/>
                <a:cs typeface="Arial Black"/>
              </a:rPr>
              <a:t>and </a:t>
            </a:r>
            <a:r>
              <a:rPr sz="1600" spc="-53" dirty="0">
                <a:latin typeface="Arial Black"/>
                <a:cs typeface="Arial Black"/>
              </a:rPr>
              <a:t>other</a:t>
            </a:r>
            <a:r>
              <a:rPr sz="1600" spc="-93" dirty="0">
                <a:latin typeface="Arial Black"/>
                <a:cs typeface="Arial Black"/>
              </a:rPr>
              <a:t> </a:t>
            </a:r>
            <a:r>
              <a:rPr sz="1600" spc="-70" dirty="0">
                <a:latin typeface="Arial Black"/>
                <a:cs typeface="Arial Black"/>
              </a:rPr>
              <a:t>community</a:t>
            </a:r>
            <a:r>
              <a:rPr sz="1600" spc="-93" dirty="0">
                <a:latin typeface="Arial Black"/>
                <a:cs typeface="Arial Black"/>
              </a:rPr>
              <a:t> </a:t>
            </a:r>
            <a:r>
              <a:rPr sz="1600" spc="-37" dirty="0">
                <a:latin typeface="Arial Black"/>
                <a:cs typeface="Arial Black"/>
              </a:rPr>
              <a:t>resources.</a:t>
            </a:r>
            <a:endParaRPr sz="1600">
              <a:latin typeface="Arial Black"/>
              <a:cs typeface="Arial Black"/>
            </a:endParaRPr>
          </a:p>
        </p:txBody>
      </p:sp>
      <p:sp>
        <p:nvSpPr>
          <p:cNvPr id="53" name="object 53"/>
          <p:cNvSpPr txBox="1"/>
          <p:nvPr/>
        </p:nvSpPr>
        <p:spPr>
          <a:xfrm>
            <a:off x="677334" y="1720738"/>
            <a:ext cx="3819737" cy="1384723"/>
          </a:xfrm>
          <a:prstGeom prst="rect">
            <a:avLst/>
          </a:prstGeom>
        </p:spPr>
        <p:txBody>
          <a:bodyPr vert="horz" wrap="square" lIns="0" tIns="8043" rIns="0" bIns="0" rtlCol="0">
            <a:spAutoFit/>
          </a:bodyPr>
          <a:lstStyle/>
          <a:p>
            <a:pPr marL="8467" marR="602009">
              <a:lnSpc>
                <a:spcPct val="116700"/>
              </a:lnSpc>
              <a:spcBef>
                <a:spcPts val="63"/>
              </a:spcBef>
            </a:pPr>
            <a:r>
              <a:rPr sz="2000" b="1" spc="-20" dirty="0">
                <a:solidFill>
                  <a:srgbClr val="2ABEC1"/>
                </a:solidFill>
                <a:latin typeface="Trebuchet MS"/>
                <a:cs typeface="Trebuchet MS"/>
              </a:rPr>
              <a:t>Community</a:t>
            </a:r>
            <a:r>
              <a:rPr sz="2000" b="1" spc="-110" dirty="0">
                <a:solidFill>
                  <a:srgbClr val="2ABEC1"/>
                </a:solidFill>
                <a:latin typeface="Trebuchet MS"/>
                <a:cs typeface="Trebuchet MS"/>
              </a:rPr>
              <a:t> </a:t>
            </a:r>
            <a:r>
              <a:rPr sz="2000" b="1" spc="-23" dirty="0">
                <a:solidFill>
                  <a:srgbClr val="2ABEC1"/>
                </a:solidFill>
                <a:latin typeface="Trebuchet MS"/>
                <a:cs typeface="Trebuchet MS"/>
              </a:rPr>
              <a:t>Health</a:t>
            </a:r>
            <a:r>
              <a:rPr sz="2000" b="1" spc="-107" dirty="0">
                <a:solidFill>
                  <a:srgbClr val="2ABEC1"/>
                </a:solidFill>
                <a:latin typeface="Trebuchet MS"/>
                <a:cs typeface="Trebuchet MS"/>
              </a:rPr>
              <a:t> </a:t>
            </a:r>
            <a:r>
              <a:rPr sz="2000" b="1" spc="-7" dirty="0">
                <a:solidFill>
                  <a:srgbClr val="2ABEC1"/>
                </a:solidFill>
                <a:latin typeface="Trebuchet MS"/>
                <a:cs typeface="Trebuchet MS"/>
              </a:rPr>
              <a:t>Workers (Doulas)</a:t>
            </a:r>
            <a:endParaRPr sz="2000">
              <a:latin typeface="Trebuchet MS"/>
              <a:cs typeface="Trebuchet MS"/>
            </a:endParaRPr>
          </a:p>
          <a:p>
            <a:pPr marL="8467" marR="3387">
              <a:lnSpc>
                <a:spcPct val="114599"/>
              </a:lnSpc>
              <a:spcBef>
                <a:spcPts val="770"/>
              </a:spcBef>
              <a:tabLst>
                <a:tab pos="778972" algn="l"/>
                <a:tab pos="1194283" algn="l"/>
                <a:tab pos="2168422" algn="l"/>
                <a:tab pos="3426208" algn="l"/>
              </a:tabLst>
            </a:pPr>
            <a:r>
              <a:rPr sz="1600" spc="-70" dirty="0">
                <a:latin typeface="Arial Black"/>
                <a:cs typeface="Arial Black"/>
              </a:rPr>
              <a:t>Community</a:t>
            </a:r>
            <a:r>
              <a:rPr sz="1600" spc="-83" dirty="0">
                <a:latin typeface="Arial Black"/>
                <a:cs typeface="Arial Black"/>
              </a:rPr>
              <a:t> </a:t>
            </a:r>
            <a:r>
              <a:rPr sz="1600" spc="-76" dirty="0">
                <a:latin typeface="Arial Black"/>
                <a:cs typeface="Arial Black"/>
              </a:rPr>
              <a:t>Health</a:t>
            </a:r>
            <a:r>
              <a:rPr sz="1600" spc="-80" dirty="0">
                <a:latin typeface="Arial Black"/>
                <a:cs typeface="Arial Black"/>
              </a:rPr>
              <a:t> </a:t>
            </a:r>
            <a:r>
              <a:rPr sz="1600" spc="-76" dirty="0">
                <a:latin typeface="Arial Black"/>
                <a:cs typeface="Arial Black"/>
              </a:rPr>
              <a:t>Workers</a:t>
            </a:r>
            <a:r>
              <a:rPr sz="1600" spc="-80" dirty="0">
                <a:latin typeface="Arial Black"/>
                <a:cs typeface="Arial Black"/>
              </a:rPr>
              <a:t> will </a:t>
            </a:r>
            <a:r>
              <a:rPr sz="1600" spc="-103" dirty="0">
                <a:latin typeface="Arial Black"/>
                <a:cs typeface="Arial Black"/>
              </a:rPr>
              <a:t>be</a:t>
            </a:r>
            <a:r>
              <a:rPr sz="1600" spc="-80" dirty="0">
                <a:latin typeface="Arial Black"/>
                <a:cs typeface="Arial Black"/>
              </a:rPr>
              <a:t> </a:t>
            </a:r>
            <a:r>
              <a:rPr sz="1600" spc="-17" dirty="0">
                <a:latin typeface="Arial Black"/>
                <a:cs typeface="Arial Black"/>
              </a:rPr>
              <a:t>in </a:t>
            </a:r>
            <a:r>
              <a:rPr sz="1600" spc="-7" dirty="0">
                <a:latin typeface="Arial Black"/>
                <a:cs typeface="Arial Black"/>
              </a:rPr>
              <a:t>office</a:t>
            </a:r>
            <a:r>
              <a:rPr sz="1600" dirty="0">
                <a:latin typeface="Arial Black"/>
                <a:cs typeface="Arial Black"/>
              </a:rPr>
              <a:t>	</a:t>
            </a:r>
            <a:r>
              <a:rPr sz="1600" spc="-17" dirty="0">
                <a:latin typeface="Arial Black"/>
                <a:cs typeface="Arial Black"/>
              </a:rPr>
              <a:t>to</a:t>
            </a:r>
            <a:r>
              <a:rPr sz="1600" dirty="0">
                <a:latin typeface="Arial Black"/>
                <a:cs typeface="Arial Black"/>
              </a:rPr>
              <a:t>	</a:t>
            </a:r>
            <a:r>
              <a:rPr sz="1600" spc="-7" dirty="0">
                <a:latin typeface="Arial Black"/>
                <a:cs typeface="Arial Black"/>
              </a:rPr>
              <a:t>provide</a:t>
            </a:r>
            <a:r>
              <a:rPr sz="1600" dirty="0">
                <a:latin typeface="Arial Black"/>
                <a:cs typeface="Arial Black"/>
              </a:rPr>
              <a:t>	</a:t>
            </a:r>
            <a:r>
              <a:rPr sz="1600" spc="-7" dirty="0">
                <a:latin typeface="Arial Black"/>
                <a:cs typeface="Arial Black"/>
              </a:rPr>
              <a:t>assistance</a:t>
            </a:r>
            <a:r>
              <a:rPr sz="1600" dirty="0">
                <a:latin typeface="Arial Black"/>
                <a:cs typeface="Arial Black"/>
              </a:rPr>
              <a:t>	</a:t>
            </a:r>
            <a:r>
              <a:rPr sz="1600" spc="-70" dirty="0">
                <a:latin typeface="Arial Black"/>
                <a:cs typeface="Arial Black"/>
              </a:rPr>
              <a:t>and</a:t>
            </a:r>
            <a:endParaRPr sz="1600">
              <a:latin typeface="Arial Black"/>
              <a:cs typeface="Arial Black"/>
            </a:endParaRPr>
          </a:p>
        </p:txBody>
      </p:sp>
      <p:sp>
        <p:nvSpPr>
          <p:cNvPr id="54" name="object 54"/>
          <p:cNvSpPr txBox="1"/>
          <p:nvPr/>
        </p:nvSpPr>
        <p:spPr>
          <a:xfrm>
            <a:off x="6665197" y="2197766"/>
            <a:ext cx="2259753" cy="651933"/>
          </a:xfrm>
          <a:prstGeom prst="rect">
            <a:avLst/>
          </a:prstGeom>
        </p:spPr>
        <p:txBody>
          <a:bodyPr vert="horz" wrap="square" lIns="0" tIns="8467" rIns="0" bIns="0" rtlCol="0">
            <a:spAutoFit/>
          </a:bodyPr>
          <a:lstStyle/>
          <a:p>
            <a:pPr marL="8467" marR="3387">
              <a:lnSpc>
                <a:spcPct val="115700"/>
              </a:lnSpc>
              <a:spcBef>
                <a:spcPts val="67"/>
              </a:spcBef>
              <a:tabLst>
                <a:tab pos="927146" algn="l"/>
                <a:tab pos="1239159" algn="l"/>
                <a:tab pos="1684528" algn="l"/>
              </a:tabLst>
            </a:pPr>
            <a:r>
              <a:rPr sz="1800" spc="-7" dirty="0">
                <a:latin typeface="Trebuchet MS"/>
                <a:cs typeface="Trebuchet MS"/>
              </a:rPr>
              <a:t>(</a:t>
            </a:r>
            <a:r>
              <a:rPr sz="1800" spc="-7" dirty="0">
                <a:latin typeface="Arial Black"/>
                <a:cs typeface="Arial Black"/>
              </a:rPr>
              <a:t>Filled</a:t>
            </a:r>
            <a:r>
              <a:rPr sz="1800" dirty="0">
                <a:latin typeface="Arial Black"/>
                <a:cs typeface="Arial Black"/>
              </a:rPr>
              <a:t>	</a:t>
            </a:r>
            <a:r>
              <a:rPr sz="1800" spc="-13" dirty="0">
                <a:latin typeface="Arial Black"/>
                <a:cs typeface="Arial Black"/>
              </a:rPr>
              <a:t>with</a:t>
            </a:r>
            <a:r>
              <a:rPr sz="1800" dirty="0">
                <a:latin typeface="Arial Black"/>
                <a:cs typeface="Arial Black"/>
              </a:rPr>
              <a:t>	</a:t>
            </a:r>
            <a:r>
              <a:rPr sz="1800" spc="-120" dirty="0">
                <a:latin typeface="Arial Black"/>
                <a:cs typeface="Arial Black"/>
              </a:rPr>
              <a:t>Baby </a:t>
            </a:r>
            <a:r>
              <a:rPr sz="1800" spc="-7" dirty="0">
                <a:latin typeface="Arial Black"/>
                <a:cs typeface="Arial Black"/>
              </a:rPr>
              <a:t>diapers,</a:t>
            </a:r>
            <a:r>
              <a:rPr sz="1800" dirty="0">
                <a:latin typeface="Arial Black"/>
                <a:cs typeface="Arial Black"/>
              </a:rPr>
              <a:t>	</a:t>
            </a:r>
            <a:r>
              <a:rPr sz="1800" spc="-17" dirty="0">
                <a:latin typeface="Arial Black"/>
                <a:cs typeface="Arial Black"/>
              </a:rPr>
              <a:t>wipes,</a:t>
            </a:r>
            <a:endParaRPr sz="1800">
              <a:latin typeface="Arial Black"/>
              <a:cs typeface="Arial Black"/>
            </a:endParaRPr>
          </a:p>
        </p:txBody>
      </p:sp>
      <p:sp>
        <p:nvSpPr>
          <p:cNvPr id="55" name="object 55"/>
          <p:cNvSpPr txBox="1"/>
          <p:nvPr/>
        </p:nvSpPr>
        <p:spPr>
          <a:xfrm>
            <a:off x="8936419" y="2197766"/>
            <a:ext cx="1361440" cy="651933"/>
          </a:xfrm>
          <a:prstGeom prst="rect">
            <a:avLst/>
          </a:prstGeom>
        </p:spPr>
        <p:txBody>
          <a:bodyPr vert="horz" wrap="square" lIns="0" tIns="8467" rIns="0" bIns="0" rtlCol="0">
            <a:spAutoFit/>
          </a:bodyPr>
          <a:lstStyle/>
          <a:p>
            <a:pPr marL="8467" marR="3387" indent="213794">
              <a:lnSpc>
                <a:spcPct val="115700"/>
              </a:lnSpc>
              <a:spcBef>
                <a:spcPts val="67"/>
              </a:spcBef>
            </a:pPr>
            <a:r>
              <a:rPr sz="1800" spc="-136" dirty="0">
                <a:latin typeface="Arial Black"/>
                <a:cs typeface="Arial Black"/>
              </a:rPr>
              <a:t>Essentials </a:t>
            </a:r>
            <a:r>
              <a:rPr sz="1800" spc="-23" dirty="0">
                <a:latin typeface="Arial Black"/>
                <a:cs typeface="Arial Black"/>
              </a:rPr>
              <a:t>toiletries,</a:t>
            </a:r>
            <a:endParaRPr sz="1800">
              <a:latin typeface="Arial Black"/>
              <a:cs typeface="Arial Black"/>
            </a:endParaRPr>
          </a:p>
        </p:txBody>
      </p:sp>
      <p:sp>
        <p:nvSpPr>
          <p:cNvPr id="56" name="object 56"/>
          <p:cNvSpPr txBox="1"/>
          <p:nvPr/>
        </p:nvSpPr>
        <p:spPr>
          <a:xfrm>
            <a:off x="10354531" y="2197766"/>
            <a:ext cx="1211580" cy="651933"/>
          </a:xfrm>
          <a:prstGeom prst="rect">
            <a:avLst/>
          </a:prstGeom>
        </p:spPr>
        <p:txBody>
          <a:bodyPr vert="horz" wrap="square" lIns="0" tIns="8467" rIns="0" bIns="0" rtlCol="0">
            <a:spAutoFit/>
          </a:bodyPr>
          <a:lstStyle/>
          <a:p>
            <a:pPr marL="8467" marR="3387" indent="168918">
              <a:lnSpc>
                <a:spcPct val="115700"/>
              </a:lnSpc>
              <a:spcBef>
                <a:spcPts val="67"/>
              </a:spcBef>
              <a:tabLst>
                <a:tab pos="740447" algn="l"/>
                <a:tab pos="951278" algn="l"/>
              </a:tabLst>
            </a:pPr>
            <a:r>
              <a:rPr sz="1800" spc="-13" dirty="0">
                <a:latin typeface="Arial Black"/>
                <a:cs typeface="Arial Black"/>
              </a:rPr>
              <a:t>such</a:t>
            </a:r>
            <a:r>
              <a:rPr sz="1800" dirty="0">
                <a:latin typeface="Arial Black"/>
                <a:cs typeface="Arial Black"/>
              </a:rPr>
              <a:t>	</a:t>
            </a:r>
            <a:r>
              <a:rPr sz="1800" spc="-177" dirty="0">
                <a:latin typeface="Arial Black"/>
                <a:cs typeface="Arial Black"/>
              </a:rPr>
              <a:t>as </a:t>
            </a:r>
            <a:r>
              <a:rPr sz="1800" spc="-13" dirty="0">
                <a:latin typeface="Arial Black"/>
                <a:cs typeface="Arial Black"/>
              </a:rPr>
              <a:t>etc.</a:t>
            </a:r>
            <a:r>
              <a:rPr sz="1800" dirty="0">
                <a:latin typeface="Arial Black"/>
                <a:cs typeface="Arial Black"/>
              </a:rPr>
              <a:t>	</a:t>
            </a:r>
            <a:r>
              <a:rPr sz="1800" spc="-76" dirty="0">
                <a:latin typeface="Arial Black"/>
                <a:cs typeface="Arial Black"/>
              </a:rPr>
              <a:t>free</a:t>
            </a:r>
            <a:endParaRPr sz="1800">
              <a:latin typeface="Arial Black"/>
              <a:cs typeface="Arial Black"/>
            </a:endParaRPr>
          </a:p>
        </p:txBody>
      </p:sp>
      <p:sp>
        <p:nvSpPr>
          <p:cNvPr id="57" name="object 57"/>
          <p:cNvSpPr txBox="1"/>
          <p:nvPr/>
        </p:nvSpPr>
        <p:spPr>
          <a:xfrm>
            <a:off x="6665197" y="2876022"/>
            <a:ext cx="4338743" cy="291253"/>
          </a:xfrm>
          <a:prstGeom prst="rect">
            <a:avLst/>
          </a:prstGeom>
        </p:spPr>
        <p:txBody>
          <a:bodyPr vert="horz" wrap="square" lIns="0" tIns="8467" rIns="0" bIns="0" rtlCol="0">
            <a:spAutoFit/>
          </a:bodyPr>
          <a:lstStyle/>
          <a:p>
            <a:pPr marL="8467">
              <a:lnSpc>
                <a:spcPct val="100000"/>
              </a:lnSpc>
              <a:spcBef>
                <a:spcPts val="67"/>
              </a:spcBef>
            </a:pPr>
            <a:r>
              <a:rPr sz="1800" spc="-136" dirty="0">
                <a:latin typeface="Arial Black"/>
                <a:cs typeface="Arial Black"/>
              </a:rPr>
              <a:t>giveaways</a:t>
            </a:r>
            <a:r>
              <a:rPr sz="1800" spc="-103" dirty="0">
                <a:latin typeface="Arial Black"/>
                <a:cs typeface="Arial Black"/>
              </a:rPr>
              <a:t> </a:t>
            </a:r>
            <a:r>
              <a:rPr sz="1800" spc="-37" dirty="0">
                <a:latin typeface="Arial Black"/>
                <a:cs typeface="Arial Black"/>
              </a:rPr>
              <a:t>for</a:t>
            </a:r>
            <a:r>
              <a:rPr sz="1800" spc="-100" dirty="0">
                <a:latin typeface="Arial Black"/>
                <a:cs typeface="Arial Black"/>
              </a:rPr>
              <a:t> </a:t>
            </a:r>
            <a:r>
              <a:rPr sz="1800" spc="-90" dirty="0">
                <a:latin typeface="Arial Black"/>
                <a:cs typeface="Arial Black"/>
              </a:rPr>
              <a:t>participating</a:t>
            </a:r>
            <a:r>
              <a:rPr sz="1800" spc="-103" dirty="0">
                <a:latin typeface="Arial Black"/>
                <a:cs typeface="Arial Black"/>
              </a:rPr>
              <a:t> </a:t>
            </a:r>
            <a:r>
              <a:rPr sz="1800" spc="-47" dirty="0">
                <a:latin typeface="Arial Black"/>
                <a:cs typeface="Arial Black"/>
              </a:rPr>
              <a:t>in</a:t>
            </a:r>
            <a:r>
              <a:rPr sz="1800" spc="-100" dirty="0">
                <a:latin typeface="Arial Black"/>
                <a:cs typeface="Arial Black"/>
              </a:rPr>
              <a:t> </a:t>
            </a:r>
            <a:r>
              <a:rPr sz="1800" spc="-177" dirty="0">
                <a:latin typeface="Arial Black"/>
                <a:cs typeface="Arial Black"/>
              </a:rPr>
              <a:t>classes)</a:t>
            </a:r>
            <a:endParaRPr sz="1800">
              <a:latin typeface="Arial Black"/>
              <a:cs typeface="Arial Black"/>
            </a:endParaRPr>
          </a:p>
        </p:txBody>
      </p:sp>
      <p:sp>
        <p:nvSpPr>
          <p:cNvPr id="58" name="object 58"/>
          <p:cNvSpPr txBox="1"/>
          <p:nvPr/>
        </p:nvSpPr>
        <p:spPr>
          <a:xfrm>
            <a:off x="6665197" y="1619138"/>
            <a:ext cx="4081780" cy="321733"/>
          </a:xfrm>
          <a:prstGeom prst="rect">
            <a:avLst/>
          </a:prstGeom>
        </p:spPr>
        <p:txBody>
          <a:bodyPr vert="horz" wrap="square" lIns="0" tIns="8467" rIns="0" bIns="0" rtlCol="0">
            <a:spAutoFit/>
          </a:bodyPr>
          <a:lstStyle/>
          <a:p>
            <a:pPr marL="8467">
              <a:lnSpc>
                <a:spcPct val="100000"/>
              </a:lnSpc>
              <a:spcBef>
                <a:spcPts val="67"/>
              </a:spcBef>
            </a:pPr>
            <a:r>
              <a:rPr sz="2000" b="1" spc="-73" dirty="0">
                <a:solidFill>
                  <a:srgbClr val="2ABEC1"/>
                </a:solidFill>
                <a:latin typeface="Trebuchet MS"/>
                <a:cs typeface="Trebuchet MS"/>
              </a:rPr>
              <a:t>Better</a:t>
            </a:r>
            <a:r>
              <a:rPr sz="2000" b="1" spc="-67" dirty="0">
                <a:solidFill>
                  <a:srgbClr val="2ABEC1"/>
                </a:solidFill>
                <a:latin typeface="Trebuchet MS"/>
                <a:cs typeface="Trebuchet MS"/>
              </a:rPr>
              <a:t> </a:t>
            </a:r>
            <a:r>
              <a:rPr sz="2000" b="1" spc="-90" dirty="0">
                <a:solidFill>
                  <a:srgbClr val="2ABEC1"/>
                </a:solidFill>
                <a:latin typeface="Trebuchet MS"/>
                <a:cs typeface="Trebuchet MS"/>
              </a:rPr>
              <a:t>Birth</a:t>
            </a:r>
            <a:r>
              <a:rPr sz="2000" b="1" spc="-63" dirty="0">
                <a:solidFill>
                  <a:srgbClr val="2ABEC1"/>
                </a:solidFill>
                <a:latin typeface="Trebuchet MS"/>
                <a:cs typeface="Trebuchet MS"/>
              </a:rPr>
              <a:t> </a:t>
            </a:r>
            <a:r>
              <a:rPr sz="2000" b="1" dirty="0">
                <a:solidFill>
                  <a:srgbClr val="2ABEC1"/>
                </a:solidFill>
                <a:latin typeface="Trebuchet MS"/>
                <a:cs typeface="Trebuchet MS"/>
              </a:rPr>
              <a:t>Start</a:t>
            </a:r>
            <a:r>
              <a:rPr sz="2000" b="1" spc="-63" dirty="0">
                <a:solidFill>
                  <a:srgbClr val="2ABEC1"/>
                </a:solidFill>
                <a:latin typeface="Trebuchet MS"/>
                <a:cs typeface="Trebuchet MS"/>
              </a:rPr>
              <a:t> </a:t>
            </a:r>
            <a:r>
              <a:rPr sz="2000" b="1" spc="-20" dirty="0">
                <a:solidFill>
                  <a:srgbClr val="2ABEC1"/>
                </a:solidFill>
                <a:latin typeface="Trebuchet MS"/>
                <a:cs typeface="Trebuchet MS"/>
              </a:rPr>
              <a:t>Community</a:t>
            </a:r>
            <a:r>
              <a:rPr sz="2000" b="1" spc="-63" dirty="0">
                <a:solidFill>
                  <a:srgbClr val="2ABEC1"/>
                </a:solidFill>
                <a:latin typeface="Trebuchet MS"/>
                <a:cs typeface="Trebuchet MS"/>
              </a:rPr>
              <a:t> </a:t>
            </a:r>
            <a:r>
              <a:rPr sz="2000" b="1" spc="-13" dirty="0">
                <a:solidFill>
                  <a:srgbClr val="2ABEC1"/>
                </a:solidFill>
                <a:latin typeface="Trebuchet MS"/>
                <a:cs typeface="Trebuchet MS"/>
              </a:rPr>
              <a:t>Room</a:t>
            </a:r>
            <a:endParaRPr sz="2000">
              <a:latin typeface="Trebuchet MS"/>
              <a:cs typeface="Trebuchet MS"/>
            </a:endParaRPr>
          </a:p>
        </p:txBody>
      </p:sp>
    </p:spTree>
    <p:extLst>
      <p:ext uri="{BB962C8B-B14F-4D97-AF65-F5344CB8AC3E}">
        <p14:creationId xmlns:p14="http://schemas.microsoft.com/office/powerpoint/2010/main" val="408746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447736" y="1596717"/>
            <a:ext cx="117673" cy="117673"/>
          </a:xfrm>
          <a:prstGeom prst="rect">
            <a:avLst/>
          </a:prstGeom>
        </p:spPr>
      </p:pic>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631838" y="1596717"/>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815940" y="1596717"/>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000042" y="1596717"/>
            <a:ext cx="117673" cy="117673"/>
          </a:xfrm>
          <a:prstGeom prst="rect">
            <a:avLst/>
          </a:prstGeom>
        </p:spPr>
      </p:pic>
      <p:pic>
        <p:nvPicPr>
          <p:cNvPr id="6" name="object 6"/>
          <p:cNvPicPr/>
          <p:nvPr/>
        </p:nvPicPr>
        <p:blipFill>
          <a:blip r:embed="rId4" cstate="email">
            <a:extLst>
              <a:ext uri="{28A0092B-C50C-407E-A947-70E740481C1C}">
                <a14:useLocalDpi xmlns:a14="http://schemas.microsoft.com/office/drawing/2010/main"/>
              </a:ext>
            </a:extLst>
          </a:blip>
          <a:stretch>
            <a:fillRect/>
          </a:stretch>
        </p:blipFill>
        <p:spPr>
          <a:xfrm>
            <a:off x="1184144" y="1596717"/>
            <a:ext cx="117673" cy="117673"/>
          </a:xfrm>
          <a:prstGeom prst="rect">
            <a:avLst/>
          </a:prstGeom>
        </p:spPr>
      </p:pic>
      <p:sp>
        <p:nvSpPr>
          <p:cNvPr id="13" name="object 13"/>
          <p:cNvSpPr txBox="1">
            <a:spLocks noGrp="1"/>
          </p:cNvSpPr>
          <p:nvPr>
            <p:ph type="title"/>
          </p:nvPr>
        </p:nvSpPr>
        <p:spPr>
          <a:prstGeom prst="rect">
            <a:avLst/>
          </a:prstGeom>
        </p:spPr>
        <p:txBody>
          <a:bodyPr vert="horz" wrap="square" lIns="0" tIns="8467" rIns="0" bIns="0" rtlCol="0">
            <a:spAutoFit/>
          </a:bodyPr>
          <a:lstStyle/>
          <a:p>
            <a:pPr marL="8467">
              <a:lnSpc>
                <a:spcPct val="100000"/>
              </a:lnSpc>
              <a:spcBef>
                <a:spcPts val="67"/>
              </a:spcBef>
            </a:pPr>
            <a:r>
              <a:rPr dirty="0"/>
              <a:t>Doula</a:t>
            </a:r>
            <a:r>
              <a:rPr spc="-220" dirty="0"/>
              <a:t> </a:t>
            </a:r>
            <a:r>
              <a:rPr spc="63" dirty="0"/>
              <a:t>Lab</a:t>
            </a:r>
            <a:r>
              <a:rPr spc="-220" dirty="0"/>
              <a:t> </a:t>
            </a:r>
            <a:r>
              <a:rPr spc="53" dirty="0"/>
              <a:t>Services</a:t>
            </a:r>
          </a:p>
        </p:txBody>
      </p:sp>
      <p:sp>
        <p:nvSpPr>
          <p:cNvPr id="14" name="object 14"/>
          <p:cNvSpPr txBox="1"/>
          <p:nvPr/>
        </p:nvSpPr>
        <p:spPr>
          <a:xfrm>
            <a:off x="355089" y="1857538"/>
            <a:ext cx="4082627" cy="669308"/>
          </a:xfrm>
          <a:prstGeom prst="rect">
            <a:avLst/>
          </a:prstGeom>
        </p:spPr>
        <p:txBody>
          <a:bodyPr vert="horz" wrap="square" lIns="0" tIns="8467" rIns="0" bIns="0" rtlCol="0">
            <a:spAutoFit/>
          </a:bodyPr>
          <a:lstStyle/>
          <a:p>
            <a:pPr marL="8467" marR="3387">
              <a:lnSpc>
                <a:spcPct val="116399"/>
              </a:lnSpc>
              <a:spcBef>
                <a:spcPts val="67"/>
              </a:spcBef>
            </a:pPr>
            <a:r>
              <a:rPr sz="1933" b="1" dirty="0">
                <a:solidFill>
                  <a:srgbClr val="FF8F45"/>
                </a:solidFill>
                <a:latin typeface="Trebuchet MS"/>
                <a:cs typeface="Trebuchet MS"/>
              </a:rPr>
              <a:t>Perinatal/</a:t>
            </a:r>
            <a:r>
              <a:rPr sz="1933" b="1" spc="-70" dirty="0">
                <a:solidFill>
                  <a:srgbClr val="FF8F45"/>
                </a:solidFill>
                <a:latin typeface="Trebuchet MS"/>
                <a:cs typeface="Trebuchet MS"/>
              </a:rPr>
              <a:t> </a:t>
            </a:r>
            <a:r>
              <a:rPr sz="1933" b="1" spc="-13" dirty="0">
                <a:solidFill>
                  <a:srgbClr val="FF8F45"/>
                </a:solidFill>
                <a:latin typeface="Trebuchet MS"/>
                <a:cs typeface="Trebuchet MS"/>
              </a:rPr>
              <a:t>Postpartum</a:t>
            </a:r>
            <a:r>
              <a:rPr sz="1933" b="1" spc="-70" dirty="0">
                <a:solidFill>
                  <a:srgbClr val="FF8F45"/>
                </a:solidFill>
                <a:latin typeface="Trebuchet MS"/>
                <a:cs typeface="Trebuchet MS"/>
              </a:rPr>
              <a:t> </a:t>
            </a:r>
            <a:r>
              <a:rPr sz="1933" b="1" spc="-60" dirty="0">
                <a:solidFill>
                  <a:srgbClr val="FF8F45"/>
                </a:solidFill>
                <a:latin typeface="Trebuchet MS"/>
                <a:cs typeface="Trebuchet MS"/>
              </a:rPr>
              <a:t>Peer</a:t>
            </a:r>
            <a:r>
              <a:rPr sz="1933" b="1" spc="-67" dirty="0">
                <a:solidFill>
                  <a:srgbClr val="FF8F45"/>
                </a:solidFill>
                <a:latin typeface="Trebuchet MS"/>
                <a:cs typeface="Trebuchet MS"/>
              </a:rPr>
              <a:t> </a:t>
            </a:r>
            <a:r>
              <a:rPr sz="1933" b="1" spc="-7" dirty="0">
                <a:solidFill>
                  <a:srgbClr val="FF8F45"/>
                </a:solidFill>
                <a:latin typeface="Trebuchet MS"/>
                <a:cs typeface="Trebuchet MS"/>
              </a:rPr>
              <a:t>Support </a:t>
            </a:r>
            <a:r>
              <a:rPr sz="1933" b="1" spc="33" dirty="0">
                <a:solidFill>
                  <a:srgbClr val="FF8F45"/>
                </a:solidFill>
                <a:latin typeface="Trebuchet MS"/>
                <a:cs typeface="Trebuchet MS"/>
              </a:rPr>
              <a:t>Groups</a:t>
            </a:r>
            <a:endParaRPr sz="1933">
              <a:latin typeface="Trebuchet MS"/>
              <a:cs typeface="Trebuchet MS"/>
            </a:endParaRPr>
          </a:p>
        </p:txBody>
      </p:sp>
      <p:sp>
        <p:nvSpPr>
          <p:cNvPr id="15" name="object 15"/>
          <p:cNvSpPr txBox="1"/>
          <p:nvPr/>
        </p:nvSpPr>
        <p:spPr>
          <a:xfrm>
            <a:off x="438182" y="2743408"/>
            <a:ext cx="923713" cy="797983"/>
          </a:xfrm>
          <a:prstGeom prst="rect">
            <a:avLst/>
          </a:prstGeom>
        </p:spPr>
        <p:txBody>
          <a:bodyPr vert="horz" wrap="square" lIns="0" tIns="8467" rIns="0" bIns="0" rtlCol="0">
            <a:spAutoFit/>
          </a:bodyPr>
          <a:lstStyle/>
          <a:p>
            <a:pPr marL="8467" marR="3387">
              <a:lnSpc>
                <a:spcPct val="116500"/>
              </a:lnSpc>
              <a:spcBef>
                <a:spcPts val="67"/>
              </a:spcBef>
            </a:pPr>
            <a:r>
              <a:rPr sz="1467" spc="-7" dirty="0">
                <a:latin typeface="Arial Black"/>
                <a:cs typeface="Arial Black"/>
              </a:rPr>
              <a:t>Monthly </a:t>
            </a:r>
            <a:r>
              <a:rPr sz="1467" spc="-100" dirty="0">
                <a:latin typeface="Arial Black"/>
                <a:cs typeface="Arial Black"/>
              </a:rPr>
              <a:t>expecting </a:t>
            </a:r>
            <a:r>
              <a:rPr sz="1467" spc="-7" dirty="0">
                <a:latin typeface="Arial Black"/>
                <a:cs typeface="Arial Black"/>
              </a:rPr>
              <a:t>familes</a:t>
            </a:r>
            <a:endParaRPr sz="1467">
              <a:latin typeface="Arial Black"/>
              <a:cs typeface="Arial Black"/>
            </a:endParaRPr>
          </a:p>
        </p:txBody>
      </p:sp>
      <p:sp>
        <p:nvSpPr>
          <p:cNvPr id="16" name="object 16"/>
          <p:cNvSpPr txBox="1"/>
          <p:nvPr/>
        </p:nvSpPr>
        <p:spPr>
          <a:xfrm>
            <a:off x="1404549" y="2743408"/>
            <a:ext cx="2853267" cy="797983"/>
          </a:xfrm>
          <a:prstGeom prst="rect">
            <a:avLst/>
          </a:prstGeom>
        </p:spPr>
        <p:txBody>
          <a:bodyPr vert="horz" wrap="square" lIns="0" tIns="8467" rIns="0" bIns="0" rtlCol="0">
            <a:spAutoFit/>
          </a:bodyPr>
          <a:lstStyle/>
          <a:p>
            <a:pPr marL="8467" marR="3387" indent="42335" algn="r">
              <a:lnSpc>
                <a:spcPct val="116500"/>
              </a:lnSpc>
              <a:spcBef>
                <a:spcPts val="67"/>
              </a:spcBef>
              <a:tabLst>
                <a:tab pos="486858" algn="l"/>
                <a:tab pos="918679" algn="l"/>
                <a:tab pos="980489" algn="l"/>
                <a:tab pos="1440252" algn="l"/>
                <a:tab pos="1477931" algn="l"/>
                <a:tab pos="1565142" algn="l"/>
                <a:tab pos="1935577" algn="l"/>
                <a:tab pos="2285267" algn="l"/>
                <a:tab pos="2572725" algn="l"/>
              </a:tabLst>
            </a:pPr>
            <a:r>
              <a:rPr sz="1467" spc="-7" dirty="0">
                <a:latin typeface="Arial Black"/>
                <a:cs typeface="Arial Black"/>
              </a:rPr>
              <a:t>groups</a:t>
            </a:r>
            <a:r>
              <a:rPr sz="1467" dirty="0">
                <a:latin typeface="Arial Black"/>
                <a:cs typeface="Arial Black"/>
              </a:rPr>
              <a:t>	</a:t>
            </a:r>
            <a:r>
              <a:rPr sz="1467" spc="-13" dirty="0">
                <a:latin typeface="Arial Black"/>
                <a:cs typeface="Arial Black"/>
              </a:rPr>
              <a:t>will</a:t>
            </a:r>
            <a:r>
              <a:rPr sz="1467" dirty="0">
                <a:latin typeface="Arial Black"/>
                <a:cs typeface="Arial Black"/>
              </a:rPr>
              <a:t>		</a:t>
            </a:r>
            <a:r>
              <a:rPr sz="1467" spc="-17" dirty="0">
                <a:latin typeface="Arial Black"/>
                <a:cs typeface="Arial Black"/>
              </a:rPr>
              <a:t>be</a:t>
            </a:r>
            <a:r>
              <a:rPr sz="1467" dirty="0">
                <a:latin typeface="Arial Black"/>
                <a:cs typeface="Arial Black"/>
              </a:rPr>
              <a:t>	</a:t>
            </a:r>
            <a:r>
              <a:rPr sz="1467" spc="-13" dirty="0">
                <a:latin typeface="Arial Black"/>
                <a:cs typeface="Arial Black"/>
              </a:rPr>
              <a:t>held</a:t>
            </a:r>
            <a:r>
              <a:rPr sz="1467" dirty="0">
                <a:latin typeface="Arial Black"/>
                <a:cs typeface="Arial Black"/>
              </a:rPr>
              <a:t>	</a:t>
            </a:r>
            <a:r>
              <a:rPr sz="1467" spc="-30" dirty="0">
                <a:latin typeface="Arial Black"/>
                <a:cs typeface="Arial Black"/>
              </a:rPr>
              <a:t>for </a:t>
            </a:r>
            <a:r>
              <a:rPr sz="1467" spc="-7" dirty="0">
                <a:latin typeface="Arial Black"/>
                <a:cs typeface="Arial Black"/>
              </a:rPr>
              <a:t>families</a:t>
            </a:r>
            <a:r>
              <a:rPr sz="1467" dirty="0">
                <a:latin typeface="Arial Black"/>
                <a:cs typeface="Arial Black"/>
              </a:rPr>
              <a:t>		</a:t>
            </a:r>
            <a:r>
              <a:rPr sz="1467" spc="-17" dirty="0">
                <a:latin typeface="Arial Black"/>
                <a:cs typeface="Arial Black"/>
              </a:rPr>
              <a:t>and</a:t>
            </a:r>
            <a:r>
              <a:rPr sz="1467" dirty="0">
                <a:latin typeface="Arial Black"/>
                <a:cs typeface="Arial Black"/>
              </a:rPr>
              <a:t>			</a:t>
            </a:r>
            <a:r>
              <a:rPr sz="1467" spc="-7" dirty="0">
                <a:latin typeface="Arial Black"/>
                <a:cs typeface="Arial Black"/>
              </a:rPr>
              <a:t>postpartum </a:t>
            </a:r>
            <a:r>
              <a:rPr sz="1467" spc="-17" dirty="0">
                <a:latin typeface="Arial Black"/>
                <a:cs typeface="Arial Black"/>
              </a:rPr>
              <a:t>to</a:t>
            </a:r>
            <a:r>
              <a:rPr sz="1467" dirty="0">
                <a:latin typeface="Arial Black"/>
                <a:cs typeface="Arial Black"/>
              </a:rPr>
              <a:t>	</a:t>
            </a:r>
            <a:r>
              <a:rPr sz="1467" spc="-7" dirty="0">
                <a:latin typeface="Arial Black"/>
                <a:cs typeface="Arial Black"/>
              </a:rPr>
              <a:t>discuss</a:t>
            </a:r>
            <a:r>
              <a:rPr sz="1467" dirty="0">
                <a:latin typeface="Arial Black"/>
                <a:cs typeface="Arial Black"/>
              </a:rPr>
              <a:t>	</a:t>
            </a:r>
            <a:r>
              <a:rPr sz="1467" spc="-7" dirty="0">
                <a:latin typeface="Arial Black"/>
                <a:cs typeface="Arial Black"/>
              </a:rPr>
              <a:t>varies</a:t>
            </a:r>
            <a:r>
              <a:rPr sz="1467" dirty="0">
                <a:latin typeface="Arial Black"/>
                <a:cs typeface="Arial Black"/>
              </a:rPr>
              <a:t>	</a:t>
            </a:r>
            <a:r>
              <a:rPr sz="1467" spc="-103" dirty="0">
                <a:latin typeface="Arial Black"/>
                <a:cs typeface="Arial Black"/>
              </a:rPr>
              <a:t>topics</a:t>
            </a:r>
            <a:endParaRPr sz="1467">
              <a:latin typeface="Arial Black"/>
              <a:cs typeface="Arial Black"/>
            </a:endParaRPr>
          </a:p>
        </p:txBody>
      </p:sp>
      <p:sp>
        <p:nvSpPr>
          <p:cNvPr id="17" name="object 17"/>
          <p:cNvSpPr txBox="1"/>
          <p:nvPr/>
        </p:nvSpPr>
        <p:spPr>
          <a:xfrm>
            <a:off x="438182" y="3524457"/>
            <a:ext cx="3819737" cy="1342313"/>
          </a:xfrm>
          <a:prstGeom prst="rect">
            <a:avLst/>
          </a:prstGeom>
        </p:spPr>
        <p:txBody>
          <a:bodyPr vert="horz" wrap="square" lIns="0" tIns="8467" rIns="0" bIns="0" rtlCol="0">
            <a:spAutoFit/>
          </a:bodyPr>
          <a:lstStyle/>
          <a:p>
            <a:pPr marL="8467" marR="3387">
              <a:lnSpc>
                <a:spcPct val="116500"/>
              </a:lnSpc>
              <a:spcBef>
                <a:spcPts val="67"/>
              </a:spcBef>
              <a:tabLst>
                <a:tab pos="1484281" algn="l"/>
                <a:tab pos="2844942" algn="l"/>
              </a:tabLst>
            </a:pPr>
            <a:r>
              <a:rPr sz="1467" spc="-7" dirty="0">
                <a:latin typeface="Arial Black"/>
                <a:cs typeface="Arial Black"/>
              </a:rPr>
              <a:t>surrounding</a:t>
            </a:r>
            <a:r>
              <a:rPr sz="1467" dirty="0">
                <a:latin typeface="Arial Black"/>
                <a:cs typeface="Arial Black"/>
              </a:rPr>
              <a:t>	</a:t>
            </a:r>
            <a:r>
              <a:rPr sz="1467" spc="-7" dirty="0">
                <a:latin typeface="Arial Black"/>
                <a:cs typeface="Arial Black"/>
              </a:rPr>
              <a:t>pregnancy,</a:t>
            </a:r>
            <a:r>
              <a:rPr sz="1467" dirty="0">
                <a:latin typeface="Arial Black"/>
                <a:cs typeface="Arial Black"/>
              </a:rPr>
              <a:t>	</a:t>
            </a:r>
            <a:r>
              <a:rPr sz="1467" spc="-57" dirty="0">
                <a:latin typeface="Arial Black"/>
                <a:cs typeface="Arial Black"/>
              </a:rPr>
              <a:t>childbirth, postpartum</a:t>
            </a:r>
            <a:r>
              <a:rPr sz="1467" spc="-90" dirty="0">
                <a:latin typeface="Arial Black"/>
                <a:cs typeface="Arial Black"/>
              </a:rPr>
              <a:t> </a:t>
            </a:r>
            <a:r>
              <a:rPr sz="1467" spc="-63" dirty="0">
                <a:latin typeface="Arial Black"/>
                <a:cs typeface="Arial Black"/>
              </a:rPr>
              <a:t>and</a:t>
            </a:r>
            <a:r>
              <a:rPr sz="1467" spc="-87" dirty="0">
                <a:latin typeface="Arial Black"/>
                <a:cs typeface="Arial Black"/>
              </a:rPr>
              <a:t> </a:t>
            </a:r>
            <a:r>
              <a:rPr sz="1467" spc="-7" dirty="0">
                <a:latin typeface="Arial Black"/>
                <a:cs typeface="Arial Black"/>
              </a:rPr>
              <a:t>more.</a:t>
            </a:r>
            <a:endParaRPr sz="1467">
              <a:latin typeface="Arial Black"/>
              <a:cs typeface="Arial Black"/>
            </a:endParaRPr>
          </a:p>
          <a:p>
            <a:pPr>
              <a:lnSpc>
                <a:spcPct val="100000"/>
              </a:lnSpc>
            </a:pPr>
            <a:endParaRPr sz="1467">
              <a:latin typeface="Arial Black"/>
              <a:cs typeface="Arial Black"/>
            </a:endParaRPr>
          </a:p>
          <a:p>
            <a:pPr>
              <a:lnSpc>
                <a:spcPct val="100000"/>
              </a:lnSpc>
              <a:spcBef>
                <a:spcPts val="173"/>
              </a:spcBef>
            </a:pPr>
            <a:endParaRPr sz="1467">
              <a:latin typeface="Arial Black"/>
              <a:cs typeface="Arial Black"/>
            </a:endParaRPr>
          </a:p>
          <a:p>
            <a:pPr marL="8467">
              <a:lnSpc>
                <a:spcPct val="100000"/>
              </a:lnSpc>
              <a:spcBef>
                <a:spcPts val="3"/>
              </a:spcBef>
            </a:pPr>
            <a:r>
              <a:rPr sz="2133" b="1" spc="-7" dirty="0">
                <a:solidFill>
                  <a:srgbClr val="FF8F45"/>
                </a:solidFill>
                <a:latin typeface="Trebuchet MS"/>
                <a:cs typeface="Trebuchet MS"/>
              </a:rPr>
              <a:t>Education</a:t>
            </a:r>
            <a:endParaRPr sz="2133">
              <a:latin typeface="Trebuchet MS"/>
              <a:cs typeface="Trebuchet MS"/>
            </a:endParaRPr>
          </a:p>
        </p:txBody>
      </p:sp>
      <p:sp>
        <p:nvSpPr>
          <p:cNvPr id="18" name="object 18"/>
          <p:cNvSpPr txBox="1"/>
          <p:nvPr/>
        </p:nvSpPr>
        <p:spPr>
          <a:xfrm>
            <a:off x="355090" y="5103067"/>
            <a:ext cx="1177713" cy="537633"/>
          </a:xfrm>
          <a:prstGeom prst="rect">
            <a:avLst/>
          </a:prstGeom>
        </p:spPr>
        <p:txBody>
          <a:bodyPr vert="horz" wrap="square" lIns="0" tIns="8467" rIns="0" bIns="0" rtlCol="0">
            <a:spAutoFit/>
          </a:bodyPr>
          <a:lstStyle/>
          <a:p>
            <a:pPr marL="8467" marR="3387">
              <a:lnSpc>
                <a:spcPct val="116500"/>
              </a:lnSpc>
              <a:spcBef>
                <a:spcPts val="67"/>
              </a:spcBef>
            </a:pPr>
            <a:r>
              <a:rPr sz="1467" spc="-30" dirty="0">
                <a:latin typeface="Arial Black"/>
                <a:cs typeface="Arial Black"/>
              </a:rPr>
              <a:t>Pregnancy, </a:t>
            </a:r>
            <a:r>
              <a:rPr sz="1467" spc="-63" dirty="0">
                <a:latin typeface="Arial Black"/>
                <a:cs typeface="Arial Black"/>
              </a:rPr>
              <a:t>Postpartum,</a:t>
            </a:r>
            <a:endParaRPr sz="1467">
              <a:latin typeface="Arial Black"/>
              <a:cs typeface="Arial Black"/>
            </a:endParaRPr>
          </a:p>
        </p:txBody>
      </p:sp>
      <p:sp>
        <p:nvSpPr>
          <p:cNvPr id="19" name="object 19"/>
          <p:cNvSpPr txBox="1"/>
          <p:nvPr/>
        </p:nvSpPr>
        <p:spPr>
          <a:xfrm>
            <a:off x="1618300" y="5103067"/>
            <a:ext cx="2889250" cy="537633"/>
          </a:xfrm>
          <a:prstGeom prst="rect">
            <a:avLst/>
          </a:prstGeom>
        </p:spPr>
        <p:txBody>
          <a:bodyPr vert="horz" wrap="square" lIns="0" tIns="8467" rIns="0" bIns="0" rtlCol="0">
            <a:spAutoFit/>
          </a:bodyPr>
          <a:lstStyle/>
          <a:p>
            <a:pPr marL="138437" marR="3387" indent="-130393">
              <a:lnSpc>
                <a:spcPct val="116500"/>
              </a:lnSpc>
              <a:spcBef>
                <a:spcPts val="67"/>
              </a:spcBef>
              <a:tabLst>
                <a:tab pos="1176926" algn="l"/>
                <a:tab pos="1231962" algn="l"/>
                <a:tab pos="1944044" algn="l"/>
              </a:tabLst>
            </a:pPr>
            <a:r>
              <a:rPr sz="1467" spc="-7" dirty="0">
                <a:latin typeface="Arial Black"/>
                <a:cs typeface="Arial Black"/>
              </a:rPr>
              <a:t>Childbirth</a:t>
            </a:r>
            <a:r>
              <a:rPr sz="1467" dirty="0">
                <a:latin typeface="Arial Black"/>
                <a:cs typeface="Arial Black"/>
              </a:rPr>
              <a:t>	</a:t>
            </a:r>
            <a:r>
              <a:rPr sz="1467" spc="-53" dirty="0">
                <a:latin typeface="Arial Black"/>
                <a:cs typeface="Arial Black"/>
              </a:rPr>
              <a:t>(Natural/Medical), </a:t>
            </a:r>
            <a:r>
              <a:rPr sz="1467" spc="-7" dirty="0">
                <a:latin typeface="Arial Black"/>
                <a:cs typeface="Arial Black"/>
              </a:rPr>
              <a:t>Newborn</a:t>
            </a:r>
            <a:r>
              <a:rPr sz="1467" dirty="0">
                <a:latin typeface="Arial Black"/>
                <a:cs typeface="Arial Black"/>
              </a:rPr>
              <a:t>		</a:t>
            </a:r>
            <a:r>
              <a:rPr sz="1467" spc="-13" dirty="0">
                <a:latin typeface="Arial Black"/>
                <a:cs typeface="Arial Black"/>
              </a:rPr>
              <a:t>Care,</a:t>
            </a:r>
            <a:r>
              <a:rPr sz="1467" dirty="0">
                <a:latin typeface="Arial Black"/>
                <a:cs typeface="Arial Black"/>
              </a:rPr>
              <a:t>	</a:t>
            </a:r>
            <a:r>
              <a:rPr sz="1467" spc="-83" dirty="0">
                <a:latin typeface="Arial Black"/>
                <a:cs typeface="Arial Black"/>
              </a:rPr>
              <a:t>Lactation,</a:t>
            </a:r>
            <a:endParaRPr sz="1467">
              <a:latin typeface="Arial Black"/>
              <a:cs typeface="Arial Black"/>
            </a:endParaRPr>
          </a:p>
        </p:txBody>
      </p:sp>
      <p:sp>
        <p:nvSpPr>
          <p:cNvPr id="20" name="object 20"/>
          <p:cNvSpPr txBox="1"/>
          <p:nvPr/>
        </p:nvSpPr>
        <p:spPr>
          <a:xfrm>
            <a:off x="355090" y="5623767"/>
            <a:ext cx="4152477" cy="537633"/>
          </a:xfrm>
          <a:prstGeom prst="rect">
            <a:avLst/>
          </a:prstGeom>
        </p:spPr>
        <p:txBody>
          <a:bodyPr vert="horz" wrap="square" lIns="0" tIns="8467" rIns="0" bIns="0" rtlCol="0">
            <a:spAutoFit/>
          </a:bodyPr>
          <a:lstStyle/>
          <a:p>
            <a:pPr marL="8467" marR="3387">
              <a:lnSpc>
                <a:spcPct val="116500"/>
              </a:lnSpc>
              <a:spcBef>
                <a:spcPts val="67"/>
              </a:spcBef>
              <a:tabLst>
                <a:tab pos="1039759" algn="l"/>
                <a:tab pos="1944467" algn="l"/>
                <a:tab pos="2979992" algn="l"/>
                <a:tab pos="3791140" algn="l"/>
              </a:tabLst>
            </a:pPr>
            <a:r>
              <a:rPr sz="1467" spc="-7" dirty="0">
                <a:latin typeface="Arial Black"/>
                <a:cs typeface="Arial Black"/>
              </a:rPr>
              <a:t>nutrition,</a:t>
            </a:r>
            <a:r>
              <a:rPr sz="1467" dirty="0">
                <a:latin typeface="Arial Black"/>
                <a:cs typeface="Arial Black"/>
              </a:rPr>
              <a:t>	</a:t>
            </a:r>
            <a:r>
              <a:rPr sz="1467" spc="-7" dirty="0">
                <a:latin typeface="Arial Black"/>
                <a:cs typeface="Arial Black"/>
              </a:rPr>
              <a:t>Comfort</a:t>
            </a:r>
            <a:r>
              <a:rPr sz="1467" dirty="0">
                <a:latin typeface="Arial Black"/>
                <a:cs typeface="Arial Black"/>
              </a:rPr>
              <a:t>	</a:t>
            </a:r>
            <a:r>
              <a:rPr sz="1467" spc="-7" dirty="0">
                <a:latin typeface="Arial Black"/>
                <a:cs typeface="Arial Black"/>
              </a:rPr>
              <a:t>Measures</a:t>
            </a:r>
            <a:r>
              <a:rPr sz="1467" dirty="0">
                <a:latin typeface="Arial Black"/>
                <a:cs typeface="Arial Black"/>
              </a:rPr>
              <a:t>	</a:t>
            </a:r>
            <a:r>
              <a:rPr sz="1467" spc="-7" dirty="0">
                <a:latin typeface="Arial Black"/>
                <a:cs typeface="Arial Black"/>
              </a:rPr>
              <a:t>Classes</a:t>
            </a:r>
            <a:r>
              <a:rPr sz="1467" dirty="0">
                <a:latin typeface="Arial Black"/>
                <a:cs typeface="Arial Black"/>
              </a:rPr>
              <a:t>	</a:t>
            </a:r>
            <a:r>
              <a:rPr sz="1467" spc="-63" dirty="0">
                <a:latin typeface="Arial Black"/>
                <a:cs typeface="Arial Black"/>
              </a:rPr>
              <a:t>and </a:t>
            </a:r>
            <a:r>
              <a:rPr sz="1467" spc="-53" dirty="0">
                <a:latin typeface="Arial Black"/>
                <a:cs typeface="Arial Black"/>
              </a:rPr>
              <a:t>more</a:t>
            </a:r>
            <a:r>
              <a:rPr sz="1467" spc="-103" dirty="0">
                <a:latin typeface="Arial Black"/>
                <a:cs typeface="Arial Black"/>
              </a:rPr>
              <a:t> </a:t>
            </a:r>
            <a:r>
              <a:rPr sz="1467" spc="-53" dirty="0">
                <a:latin typeface="Arial Black"/>
                <a:cs typeface="Arial Black"/>
              </a:rPr>
              <a:t>offered</a:t>
            </a:r>
            <a:r>
              <a:rPr sz="1467" spc="-100" dirty="0">
                <a:latin typeface="Arial Black"/>
                <a:cs typeface="Arial Black"/>
              </a:rPr>
              <a:t> </a:t>
            </a:r>
            <a:r>
              <a:rPr sz="1467" spc="-7" dirty="0">
                <a:latin typeface="Arial Black"/>
                <a:cs typeface="Arial Black"/>
              </a:rPr>
              <a:t>Monthly</a:t>
            </a:r>
            <a:endParaRPr sz="1467">
              <a:latin typeface="Arial Black"/>
              <a:cs typeface="Arial Black"/>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163339" y="6522296"/>
            <a:ext cx="117673" cy="117673"/>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347441" y="6522296"/>
            <a:ext cx="117673" cy="117673"/>
          </a:xfrm>
          <a:prstGeom prst="rect">
            <a:avLst/>
          </a:prstGeom>
        </p:spPr>
      </p:pic>
      <p:pic>
        <p:nvPicPr>
          <p:cNvPr id="4" name="object 4"/>
          <p:cNvPicPr/>
          <p:nvPr/>
        </p:nvPicPr>
        <p:blipFill>
          <a:blip r:embed="rId4" cstate="email">
            <a:extLst>
              <a:ext uri="{28A0092B-C50C-407E-A947-70E740481C1C}">
                <a14:useLocalDpi xmlns:a14="http://schemas.microsoft.com/office/drawing/2010/main"/>
              </a:ext>
            </a:extLst>
          </a:blip>
          <a:stretch>
            <a:fillRect/>
          </a:stretch>
        </p:blipFill>
        <p:spPr>
          <a:xfrm>
            <a:off x="531543" y="6522296"/>
            <a:ext cx="117673" cy="117673"/>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15645" y="6522296"/>
            <a:ext cx="117673" cy="117673"/>
          </a:xfrm>
          <a:prstGeom prst="rect">
            <a:avLst/>
          </a:prstGeom>
        </p:spPr>
      </p:pic>
      <p:pic>
        <p:nvPicPr>
          <p:cNvPr id="6" name="object 6"/>
          <p:cNvPicPr/>
          <p:nvPr/>
        </p:nvPicPr>
        <p:blipFill>
          <a:blip r:embed="rId5" cstate="email">
            <a:extLst>
              <a:ext uri="{28A0092B-C50C-407E-A947-70E740481C1C}">
                <a14:useLocalDpi xmlns:a14="http://schemas.microsoft.com/office/drawing/2010/main"/>
              </a:ext>
            </a:extLst>
          </a:blip>
          <a:stretch>
            <a:fillRect/>
          </a:stretch>
        </p:blipFill>
        <p:spPr>
          <a:xfrm>
            <a:off x="899747" y="6522296"/>
            <a:ext cx="117673" cy="117673"/>
          </a:xfrm>
          <a:prstGeom prst="rect">
            <a:avLst/>
          </a:prstGeom>
        </p:spPr>
      </p:pic>
      <p:sp>
        <p:nvSpPr>
          <p:cNvPr id="7" name="object 7"/>
          <p:cNvSpPr/>
          <p:nvPr/>
        </p:nvSpPr>
        <p:spPr>
          <a:xfrm>
            <a:off x="11662595" y="6222913"/>
            <a:ext cx="361103" cy="416560"/>
          </a:xfrm>
          <a:custGeom>
            <a:avLst/>
            <a:gdLst/>
            <a:ahLst/>
            <a:cxnLst/>
            <a:rect l="l" t="t" r="r" b="b"/>
            <a:pathLst>
              <a:path w="541655" h="624840">
                <a:moveTo>
                  <a:pt x="384576" y="204428"/>
                </a:moveTo>
                <a:lnTo>
                  <a:pt x="350884" y="204428"/>
                </a:lnTo>
                <a:lnTo>
                  <a:pt x="352230" y="202812"/>
                </a:lnTo>
                <a:lnTo>
                  <a:pt x="353307" y="201197"/>
                </a:lnTo>
                <a:lnTo>
                  <a:pt x="354654" y="199581"/>
                </a:lnTo>
                <a:lnTo>
                  <a:pt x="360317" y="193396"/>
                </a:lnTo>
                <a:lnTo>
                  <a:pt x="365223" y="187261"/>
                </a:lnTo>
                <a:lnTo>
                  <a:pt x="369423" y="181025"/>
                </a:lnTo>
                <a:lnTo>
                  <a:pt x="372966" y="174537"/>
                </a:lnTo>
                <a:lnTo>
                  <a:pt x="446482" y="27505"/>
                </a:lnTo>
                <a:lnTo>
                  <a:pt x="453041" y="17541"/>
                </a:lnTo>
                <a:lnTo>
                  <a:pt x="461595" y="9597"/>
                </a:lnTo>
                <a:lnTo>
                  <a:pt x="471816" y="3875"/>
                </a:lnTo>
                <a:lnTo>
                  <a:pt x="483374" y="576"/>
                </a:lnTo>
                <a:lnTo>
                  <a:pt x="495223" y="0"/>
                </a:lnTo>
                <a:lnTo>
                  <a:pt x="506668" y="2225"/>
                </a:lnTo>
                <a:lnTo>
                  <a:pt x="517305" y="7127"/>
                </a:lnTo>
                <a:lnTo>
                  <a:pt x="526730" y="14579"/>
                </a:lnTo>
                <a:lnTo>
                  <a:pt x="534293" y="24543"/>
                </a:lnTo>
                <a:lnTo>
                  <a:pt x="495492" y="24543"/>
                </a:lnTo>
                <a:lnTo>
                  <a:pt x="479874" y="26697"/>
                </a:lnTo>
                <a:lnTo>
                  <a:pt x="473411" y="31544"/>
                </a:lnTo>
                <a:lnTo>
                  <a:pt x="396394" y="185578"/>
                </a:lnTo>
                <a:lnTo>
                  <a:pt x="391850" y="193854"/>
                </a:lnTo>
                <a:lnTo>
                  <a:pt x="386699" y="201702"/>
                </a:lnTo>
                <a:lnTo>
                  <a:pt x="384576" y="204428"/>
                </a:lnTo>
                <a:close/>
              </a:path>
              <a:path w="541655" h="624840">
                <a:moveTo>
                  <a:pt x="302109" y="494184"/>
                </a:moveTo>
                <a:lnTo>
                  <a:pt x="267404" y="494184"/>
                </a:lnTo>
                <a:lnTo>
                  <a:pt x="430594" y="307566"/>
                </a:lnTo>
                <a:lnTo>
                  <a:pt x="436602" y="299997"/>
                </a:lnTo>
                <a:lnTo>
                  <a:pt x="514343" y="56857"/>
                </a:lnTo>
                <a:lnTo>
                  <a:pt x="515310" y="50340"/>
                </a:lnTo>
                <a:lnTo>
                  <a:pt x="514612" y="43898"/>
                </a:lnTo>
                <a:lnTo>
                  <a:pt x="512298" y="37809"/>
                </a:lnTo>
                <a:lnTo>
                  <a:pt x="508418" y="32352"/>
                </a:lnTo>
                <a:lnTo>
                  <a:pt x="503032" y="26966"/>
                </a:lnTo>
                <a:lnTo>
                  <a:pt x="495492" y="24543"/>
                </a:lnTo>
                <a:lnTo>
                  <a:pt x="534293" y="24543"/>
                </a:lnTo>
                <a:lnTo>
                  <a:pt x="534880" y="25317"/>
                </a:lnTo>
                <a:lnTo>
                  <a:pt x="539824" y="37671"/>
                </a:lnTo>
                <a:lnTo>
                  <a:pt x="541385" y="50933"/>
                </a:lnTo>
                <a:lnTo>
                  <a:pt x="539387" y="64398"/>
                </a:lnTo>
                <a:lnTo>
                  <a:pt x="474219" y="281714"/>
                </a:lnTo>
                <a:lnTo>
                  <a:pt x="450252" y="325070"/>
                </a:lnTo>
                <a:lnTo>
                  <a:pt x="302109" y="494184"/>
                </a:lnTo>
                <a:close/>
              </a:path>
              <a:path w="541655" h="624840">
                <a:moveTo>
                  <a:pt x="301873" y="494453"/>
                </a:moveTo>
                <a:lnTo>
                  <a:pt x="27467" y="494453"/>
                </a:lnTo>
                <a:lnTo>
                  <a:pt x="45509" y="350114"/>
                </a:lnTo>
                <a:lnTo>
                  <a:pt x="64629" y="299151"/>
                </a:lnTo>
                <a:lnTo>
                  <a:pt x="104753" y="262325"/>
                </a:lnTo>
                <a:lnTo>
                  <a:pt x="141717" y="246623"/>
                </a:lnTo>
                <a:lnTo>
                  <a:pt x="174264" y="230213"/>
                </a:lnTo>
                <a:lnTo>
                  <a:pt x="202417" y="213096"/>
                </a:lnTo>
                <a:lnTo>
                  <a:pt x="226203" y="195272"/>
                </a:lnTo>
                <a:lnTo>
                  <a:pt x="258219" y="183070"/>
                </a:lnTo>
                <a:lnTo>
                  <a:pt x="291068" y="180865"/>
                </a:lnTo>
                <a:lnTo>
                  <a:pt x="322655" y="188153"/>
                </a:lnTo>
                <a:lnTo>
                  <a:pt x="350884" y="204428"/>
                </a:lnTo>
                <a:lnTo>
                  <a:pt x="384576" y="204428"/>
                </a:lnTo>
                <a:lnTo>
                  <a:pt x="383397" y="205943"/>
                </a:lnTo>
                <a:lnTo>
                  <a:pt x="289688" y="205943"/>
                </a:lnTo>
                <a:lnTo>
                  <a:pt x="264980" y="207277"/>
                </a:lnTo>
                <a:lnTo>
                  <a:pt x="241283" y="216008"/>
                </a:lnTo>
                <a:lnTo>
                  <a:pt x="216946" y="234399"/>
                </a:lnTo>
                <a:lnTo>
                  <a:pt x="187762" y="252261"/>
                </a:lnTo>
                <a:lnTo>
                  <a:pt x="154033" y="269365"/>
                </a:lnTo>
                <a:lnTo>
                  <a:pt x="116063" y="285484"/>
                </a:lnTo>
                <a:lnTo>
                  <a:pt x="99616" y="297674"/>
                </a:lnTo>
                <a:lnTo>
                  <a:pt x="86273" y="313524"/>
                </a:lnTo>
                <a:lnTo>
                  <a:pt x="76718" y="332252"/>
                </a:lnTo>
                <a:lnTo>
                  <a:pt x="71631" y="353076"/>
                </a:lnTo>
                <a:lnTo>
                  <a:pt x="54127" y="494184"/>
                </a:lnTo>
                <a:lnTo>
                  <a:pt x="302109" y="494184"/>
                </a:lnTo>
                <a:lnTo>
                  <a:pt x="301873" y="494453"/>
                </a:lnTo>
                <a:close/>
              </a:path>
              <a:path w="541655" h="624840">
                <a:moveTo>
                  <a:pt x="217855" y="368964"/>
                </a:moveTo>
                <a:lnTo>
                  <a:pt x="203313" y="347421"/>
                </a:lnTo>
                <a:lnTo>
                  <a:pt x="214085" y="340150"/>
                </a:lnTo>
                <a:lnTo>
                  <a:pt x="244758" y="317399"/>
                </a:lnTo>
                <a:lnTo>
                  <a:pt x="275079" y="290634"/>
                </a:lnTo>
                <a:lnTo>
                  <a:pt x="305197" y="259679"/>
                </a:lnTo>
                <a:lnTo>
                  <a:pt x="335265" y="224356"/>
                </a:lnTo>
                <a:lnTo>
                  <a:pt x="313688" y="211728"/>
                </a:lnTo>
                <a:lnTo>
                  <a:pt x="289688" y="205943"/>
                </a:lnTo>
                <a:lnTo>
                  <a:pt x="383397" y="205943"/>
                </a:lnTo>
                <a:lnTo>
                  <a:pt x="380943" y="209094"/>
                </a:lnTo>
                <a:lnTo>
                  <a:pt x="374581" y="216008"/>
                </a:lnTo>
                <a:lnTo>
                  <a:pt x="339014" y="260962"/>
                </a:lnTo>
                <a:lnTo>
                  <a:pt x="302917" y="300161"/>
                </a:lnTo>
                <a:lnTo>
                  <a:pt x="266163" y="333704"/>
                </a:lnTo>
                <a:lnTo>
                  <a:pt x="228626" y="361693"/>
                </a:lnTo>
                <a:lnTo>
                  <a:pt x="217855" y="368964"/>
                </a:lnTo>
                <a:close/>
              </a:path>
              <a:path w="541655" h="624840">
                <a:moveTo>
                  <a:pt x="312106" y="624520"/>
                </a:moveTo>
                <a:lnTo>
                  <a:pt x="0" y="624520"/>
                </a:lnTo>
                <a:lnTo>
                  <a:pt x="0" y="494453"/>
                </a:lnTo>
                <a:lnTo>
                  <a:pt x="312106" y="494453"/>
                </a:lnTo>
                <a:lnTo>
                  <a:pt x="312106" y="520305"/>
                </a:lnTo>
                <a:lnTo>
                  <a:pt x="25851" y="520305"/>
                </a:lnTo>
                <a:lnTo>
                  <a:pt x="25851" y="598399"/>
                </a:lnTo>
                <a:lnTo>
                  <a:pt x="312106" y="598399"/>
                </a:lnTo>
                <a:lnTo>
                  <a:pt x="312106" y="624520"/>
                </a:lnTo>
                <a:close/>
              </a:path>
              <a:path w="541655" h="624840">
                <a:moveTo>
                  <a:pt x="312106" y="598399"/>
                </a:moveTo>
                <a:lnTo>
                  <a:pt x="285985" y="598399"/>
                </a:lnTo>
                <a:lnTo>
                  <a:pt x="285985" y="520305"/>
                </a:lnTo>
                <a:lnTo>
                  <a:pt x="312106" y="520305"/>
                </a:lnTo>
                <a:lnTo>
                  <a:pt x="312106" y="598399"/>
                </a:lnTo>
                <a:close/>
              </a:path>
            </a:pathLst>
          </a:custGeom>
          <a:solidFill>
            <a:srgbClr val="FF8F45"/>
          </a:solidFill>
        </p:spPr>
        <p:txBody>
          <a:bodyPr wrap="square" lIns="0" tIns="0" rIns="0" bIns="0" rtlCol="0"/>
          <a:lstStyle/>
          <a:p>
            <a:endParaRPr/>
          </a:p>
        </p:txBody>
      </p:sp>
      <p:sp>
        <p:nvSpPr>
          <p:cNvPr id="8" name="object 8"/>
          <p:cNvSpPr/>
          <p:nvPr/>
        </p:nvSpPr>
        <p:spPr>
          <a:xfrm>
            <a:off x="11267559" y="5938638"/>
            <a:ext cx="642196" cy="701040"/>
          </a:xfrm>
          <a:custGeom>
            <a:avLst/>
            <a:gdLst/>
            <a:ahLst/>
            <a:cxnLst/>
            <a:rect l="l" t="t" r="r" b="b"/>
            <a:pathLst>
              <a:path w="963294" h="1051559">
                <a:moveTo>
                  <a:pt x="540575" y="920877"/>
                </a:moveTo>
                <a:lnTo>
                  <a:pt x="514718" y="920877"/>
                </a:lnTo>
                <a:lnTo>
                  <a:pt x="514718" y="946721"/>
                </a:lnTo>
                <a:lnTo>
                  <a:pt x="514718" y="1024813"/>
                </a:lnTo>
                <a:lnTo>
                  <a:pt x="254584" y="1024813"/>
                </a:lnTo>
                <a:lnTo>
                  <a:pt x="254584" y="946721"/>
                </a:lnTo>
                <a:lnTo>
                  <a:pt x="514718" y="946721"/>
                </a:lnTo>
                <a:lnTo>
                  <a:pt x="514718" y="920877"/>
                </a:lnTo>
                <a:lnTo>
                  <a:pt x="513372" y="920877"/>
                </a:lnTo>
                <a:lnTo>
                  <a:pt x="495338" y="776528"/>
                </a:lnTo>
                <a:lnTo>
                  <a:pt x="488708" y="749769"/>
                </a:lnTo>
                <a:lnTo>
                  <a:pt x="487527" y="747509"/>
                </a:lnTo>
                <a:lnTo>
                  <a:pt x="487527" y="920877"/>
                </a:lnTo>
                <a:lnTo>
                  <a:pt x="274243" y="920877"/>
                </a:lnTo>
                <a:lnTo>
                  <a:pt x="110515" y="734250"/>
                </a:lnTo>
                <a:lnTo>
                  <a:pt x="91935" y="700595"/>
                </a:lnTo>
                <a:lnTo>
                  <a:pt x="26504" y="483273"/>
                </a:lnTo>
                <a:lnTo>
                  <a:pt x="25539" y="476770"/>
                </a:lnTo>
                <a:lnTo>
                  <a:pt x="26238" y="470382"/>
                </a:lnTo>
                <a:lnTo>
                  <a:pt x="28549" y="464451"/>
                </a:lnTo>
                <a:lnTo>
                  <a:pt x="32423" y="459308"/>
                </a:lnTo>
                <a:lnTo>
                  <a:pt x="38074" y="453656"/>
                </a:lnTo>
                <a:lnTo>
                  <a:pt x="45618" y="451231"/>
                </a:lnTo>
                <a:lnTo>
                  <a:pt x="61239" y="453923"/>
                </a:lnTo>
                <a:lnTo>
                  <a:pt x="67703" y="458495"/>
                </a:lnTo>
                <a:lnTo>
                  <a:pt x="144716" y="612533"/>
                </a:lnTo>
                <a:lnTo>
                  <a:pt x="149250" y="620788"/>
                </a:lnTo>
                <a:lnTo>
                  <a:pt x="154279" y="628484"/>
                </a:lnTo>
                <a:lnTo>
                  <a:pt x="159715" y="635482"/>
                </a:lnTo>
                <a:lnTo>
                  <a:pt x="165455" y="641616"/>
                </a:lnTo>
                <a:lnTo>
                  <a:pt x="201803" y="687349"/>
                </a:lnTo>
                <a:lnTo>
                  <a:pt x="238302" y="726948"/>
                </a:lnTo>
                <a:lnTo>
                  <a:pt x="275196" y="760641"/>
                </a:lnTo>
                <a:lnTo>
                  <a:pt x="312750" y="788644"/>
                </a:lnTo>
                <a:lnTo>
                  <a:pt x="323532" y="795921"/>
                </a:lnTo>
                <a:lnTo>
                  <a:pt x="338074" y="774382"/>
                </a:lnTo>
                <a:lnTo>
                  <a:pt x="327291" y="767105"/>
                </a:lnTo>
                <a:lnTo>
                  <a:pt x="296659" y="744550"/>
                </a:lnTo>
                <a:lnTo>
                  <a:pt x="266407" y="717892"/>
                </a:lnTo>
                <a:lnTo>
                  <a:pt x="236296" y="686904"/>
                </a:lnTo>
                <a:lnTo>
                  <a:pt x="206121" y="651306"/>
                </a:lnTo>
                <a:lnTo>
                  <a:pt x="227622" y="638619"/>
                </a:lnTo>
                <a:lnTo>
                  <a:pt x="251358" y="632599"/>
                </a:lnTo>
                <a:lnTo>
                  <a:pt x="275488" y="633437"/>
                </a:lnTo>
                <a:lnTo>
                  <a:pt x="298208" y="641350"/>
                </a:lnTo>
                <a:lnTo>
                  <a:pt x="323621" y="660501"/>
                </a:lnTo>
                <a:lnTo>
                  <a:pt x="353212" y="678675"/>
                </a:lnTo>
                <a:lnTo>
                  <a:pt x="386753" y="695693"/>
                </a:lnTo>
                <a:lnTo>
                  <a:pt x="423976" y="711365"/>
                </a:lnTo>
                <a:lnTo>
                  <a:pt x="441350" y="723912"/>
                </a:lnTo>
                <a:lnTo>
                  <a:pt x="455180" y="740003"/>
                </a:lnTo>
                <a:lnTo>
                  <a:pt x="464908" y="758888"/>
                </a:lnTo>
                <a:lnTo>
                  <a:pt x="470027" y="779767"/>
                </a:lnTo>
                <a:lnTo>
                  <a:pt x="487527" y="920877"/>
                </a:lnTo>
                <a:lnTo>
                  <a:pt x="487527" y="747509"/>
                </a:lnTo>
                <a:lnTo>
                  <a:pt x="476008" y="725462"/>
                </a:lnTo>
                <a:lnTo>
                  <a:pt x="457771" y="704545"/>
                </a:lnTo>
                <a:lnTo>
                  <a:pt x="434479" y="687933"/>
                </a:lnTo>
                <a:lnTo>
                  <a:pt x="398297" y="672528"/>
                </a:lnTo>
                <a:lnTo>
                  <a:pt x="366014" y="656120"/>
                </a:lnTo>
                <a:lnTo>
                  <a:pt x="337451" y="638670"/>
                </a:lnTo>
                <a:lnTo>
                  <a:pt x="329298" y="632599"/>
                </a:lnTo>
                <a:lnTo>
                  <a:pt x="326948" y="630847"/>
                </a:lnTo>
                <a:lnTo>
                  <a:pt x="312483" y="620077"/>
                </a:lnTo>
                <a:lnTo>
                  <a:pt x="281597" y="608660"/>
                </a:lnTo>
                <a:lnTo>
                  <a:pt x="249402" y="606882"/>
                </a:lnTo>
                <a:lnTo>
                  <a:pt x="218122" y="614400"/>
                </a:lnTo>
                <a:lnTo>
                  <a:pt x="189966" y="630847"/>
                </a:lnTo>
                <a:lnTo>
                  <a:pt x="188341" y="628688"/>
                </a:lnTo>
                <a:lnTo>
                  <a:pt x="186728" y="626808"/>
                </a:lnTo>
                <a:lnTo>
                  <a:pt x="185115" y="624649"/>
                </a:lnTo>
                <a:lnTo>
                  <a:pt x="180111" y="619252"/>
                </a:lnTo>
                <a:lnTo>
                  <a:pt x="175615" y="613511"/>
                </a:lnTo>
                <a:lnTo>
                  <a:pt x="171627" y="607428"/>
                </a:lnTo>
                <a:lnTo>
                  <a:pt x="168148" y="600951"/>
                </a:lnTo>
                <a:lnTo>
                  <a:pt x="94627" y="453923"/>
                </a:lnTo>
                <a:lnTo>
                  <a:pt x="92862" y="451231"/>
                </a:lnTo>
                <a:lnTo>
                  <a:pt x="58013" y="426999"/>
                </a:lnTo>
                <a:lnTo>
                  <a:pt x="46012" y="426415"/>
                </a:lnTo>
                <a:lnTo>
                  <a:pt x="34518" y="428637"/>
                </a:lnTo>
                <a:lnTo>
                  <a:pt x="1562" y="464083"/>
                </a:lnTo>
                <a:lnTo>
                  <a:pt x="0" y="477354"/>
                </a:lnTo>
                <a:lnTo>
                  <a:pt x="1993" y="490816"/>
                </a:lnTo>
                <a:lnTo>
                  <a:pt x="66890" y="707859"/>
                </a:lnTo>
                <a:lnTo>
                  <a:pt x="90855" y="751217"/>
                </a:lnTo>
                <a:lnTo>
                  <a:pt x="239242" y="920877"/>
                </a:lnTo>
                <a:lnTo>
                  <a:pt x="228473" y="920877"/>
                </a:lnTo>
                <a:lnTo>
                  <a:pt x="228473" y="1050937"/>
                </a:lnTo>
                <a:lnTo>
                  <a:pt x="540575" y="1050937"/>
                </a:lnTo>
                <a:lnTo>
                  <a:pt x="540575" y="1024813"/>
                </a:lnTo>
                <a:lnTo>
                  <a:pt x="540575" y="946721"/>
                </a:lnTo>
                <a:lnTo>
                  <a:pt x="540575" y="920877"/>
                </a:lnTo>
                <a:close/>
              </a:path>
              <a:path w="963294" h="1051559">
                <a:moveTo>
                  <a:pt x="696760" y="270675"/>
                </a:moveTo>
                <a:lnTo>
                  <a:pt x="670636" y="270675"/>
                </a:lnTo>
                <a:lnTo>
                  <a:pt x="670636" y="296075"/>
                </a:lnTo>
                <a:lnTo>
                  <a:pt x="670636" y="348145"/>
                </a:lnTo>
                <a:lnTo>
                  <a:pt x="592543" y="348145"/>
                </a:lnTo>
                <a:lnTo>
                  <a:pt x="592543" y="374815"/>
                </a:lnTo>
                <a:lnTo>
                  <a:pt x="592543" y="426885"/>
                </a:lnTo>
                <a:lnTo>
                  <a:pt x="540575" y="426885"/>
                </a:lnTo>
                <a:lnTo>
                  <a:pt x="540575" y="374815"/>
                </a:lnTo>
                <a:lnTo>
                  <a:pt x="540575" y="348145"/>
                </a:lnTo>
                <a:lnTo>
                  <a:pt x="462483" y="348145"/>
                </a:lnTo>
                <a:lnTo>
                  <a:pt x="462483" y="296075"/>
                </a:lnTo>
                <a:lnTo>
                  <a:pt x="540575" y="296075"/>
                </a:lnTo>
                <a:lnTo>
                  <a:pt x="540575" y="270675"/>
                </a:lnTo>
                <a:lnTo>
                  <a:pt x="540575" y="218605"/>
                </a:lnTo>
                <a:lnTo>
                  <a:pt x="592543" y="218605"/>
                </a:lnTo>
                <a:lnTo>
                  <a:pt x="592543" y="270675"/>
                </a:lnTo>
                <a:lnTo>
                  <a:pt x="592543" y="296075"/>
                </a:lnTo>
                <a:lnTo>
                  <a:pt x="670636" y="296075"/>
                </a:lnTo>
                <a:lnTo>
                  <a:pt x="670636" y="270675"/>
                </a:lnTo>
                <a:lnTo>
                  <a:pt x="618667" y="270675"/>
                </a:lnTo>
                <a:lnTo>
                  <a:pt x="618667" y="218605"/>
                </a:lnTo>
                <a:lnTo>
                  <a:pt x="618667" y="193205"/>
                </a:lnTo>
                <a:lnTo>
                  <a:pt x="514718" y="193205"/>
                </a:lnTo>
                <a:lnTo>
                  <a:pt x="514718" y="218605"/>
                </a:lnTo>
                <a:lnTo>
                  <a:pt x="514718" y="270675"/>
                </a:lnTo>
                <a:lnTo>
                  <a:pt x="436626" y="270675"/>
                </a:lnTo>
                <a:lnTo>
                  <a:pt x="436626" y="296075"/>
                </a:lnTo>
                <a:lnTo>
                  <a:pt x="436626" y="348145"/>
                </a:lnTo>
                <a:lnTo>
                  <a:pt x="436626" y="374815"/>
                </a:lnTo>
                <a:lnTo>
                  <a:pt x="514718" y="374815"/>
                </a:lnTo>
                <a:lnTo>
                  <a:pt x="514718" y="426885"/>
                </a:lnTo>
                <a:lnTo>
                  <a:pt x="514718" y="452285"/>
                </a:lnTo>
                <a:lnTo>
                  <a:pt x="618667" y="452285"/>
                </a:lnTo>
                <a:lnTo>
                  <a:pt x="618667" y="426885"/>
                </a:lnTo>
                <a:lnTo>
                  <a:pt x="618667" y="374815"/>
                </a:lnTo>
                <a:lnTo>
                  <a:pt x="696760" y="374815"/>
                </a:lnTo>
                <a:lnTo>
                  <a:pt x="696760" y="348145"/>
                </a:lnTo>
                <a:lnTo>
                  <a:pt x="696760" y="296075"/>
                </a:lnTo>
                <a:lnTo>
                  <a:pt x="696760" y="270675"/>
                </a:lnTo>
                <a:close/>
              </a:path>
              <a:path w="963294" h="1051559">
                <a:moveTo>
                  <a:pt x="963295" y="233108"/>
                </a:moveTo>
                <a:lnTo>
                  <a:pt x="959040" y="188544"/>
                </a:lnTo>
                <a:lnTo>
                  <a:pt x="946277" y="145326"/>
                </a:lnTo>
                <a:lnTo>
                  <a:pt x="937514" y="128638"/>
                </a:lnTo>
                <a:lnTo>
                  <a:pt x="937514" y="233108"/>
                </a:lnTo>
                <a:lnTo>
                  <a:pt x="933526" y="273900"/>
                </a:lnTo>
                <a:lnTo>
                  <a:pt x="921854" y="312508"/>
                </a:lnTo>
                <a:lnTo>
                  <a:pt x="902855" y="348043"/>
                </a:lnTo>
                <a:lnTo>
                  <a:pt x="876922" y="379603"/>
                </a:lnTo>
                <a:lnTo>
                  <a:pt x="590130" y="666394"/>
                </a:lnTo>
                <a:lnTo>
                  <a:pt x="566559" y="675678"/>
                </a:lnTo>
                <a:lnTo>
                  <a:pt x="553923" y="673366"/>
                </a:lnTo>
                <a:lnTo>
                  <a:pt x="256209" y="379603"/>
                </a:lnTo>
                <a:lnTo>
                  <a:pt x="230263" y="348043"/>
                </a:lnTo>
                <a:lnTo>
                  <a:pt x="211264" y="312508"/>
                </a:lnTo>
                <a:lnTo>
                  <a:pt x="199593" y="273900"/>
                </a:lnTo>
                <a:lnTo>
                  <a:pt x="195618" y="233108"/>
                </a:lnTo>
                <a:lnTo>
                  <a:pt x="199593" y="192303"/>
                </a:lnTo>
                <a:lnTo>
                  <a:pt x="211264" y="153695"/>
                </a:lnTo>
                <a:lnTo>
                  <a:pt x="230263" y="118173"/>
                </a:lnTo>
                <a:lnTo>
                  <a:pt x="256209" y="86614"/>
                </a:lnTo>
                <a:lnTo>
                  <a:pt x="288671" y="60109"/>
                </a:lnTo>
                <a:lnTo>
                  <a:pt x="324700" y="41173"/>
                </a:lnTo>
                <a:lnTo>
                  <a:pt x="363105" y="29806"/>
                </a:lnTo>
                <a:lnTo>
                  <a:pt x="402704" y="26022"/>
                </a:lnTo>
                <a:lnTo>
                  <a:pt x="442290" y="29806"/>
                </a:lnTo>
                <a:lnTo>
                  <a:pt x="480695" y="41173"/>
                </a:lnTo>
                <a:lnTo>
                  <a:pt x="516724" y="60109"/>
                </a:lnTo>
                <a:lnTo>
                  <a:pt x="549198" y="86614"/>
                </a:lnTo>
                <a:lnTo>
                  <a:pt x="557390" y="92062"/>
                </a:lnTo>
                <a:lnTo>
                  <a:pt x="566661" y="93878"/>
                </a:lnTo>
                <a:lnTo>
                  <a:pt x="575894" y="92062"/>
                </a:lnTo>
                <a:lnTo>
                  <a:pt x="583933" y="86614"/>
                </a:lnTo>
                <a:lnTo>
                  <a:pt x="608380" y="67221"/>
                </a:lnTo>
                <a:lnTo>
                  <a:pt x="621360" y="56934"/>
                </a:lnTo>
                <a:lnTo>
                  <a:pt x="663219" y="37147"/>
                </a:lnTo>
                <a:lnTo>
                  <a:pt x="707720" y="27254"/>
                </a:lnTo>
                <a:lnTo>
                  <a:pt x="753122" y="27254"/>
                </a:lnTo>
                <a:lnTo>
                  <a:pt x="797636" y="37147"/>
                </a:lnTo>
                <a:lnTo>
                  <a:pt x="839495" y="56934"/>
                </a:lnTo>
                <a:lnTo>
                  <a:pt x="876922" y="86614"/>
                </a:lnTo>
                <a:lnTo>
                  <a:pt x="902855" y="118173"/>
                </a:lnTo>
                <a:lnTo>
                  <a:pt x="921854" y="153695"/>
                </a:lnTo>
                <a:lnTo>
                  <a:pt x="933526" y="192303"/>
                </a:lnTo>
                <a:lnTo>
                  <a:pt x="937514" y="233108"/>
                </a:lnTo>
                <a:lnTo>
                  <a:pt x="937514" y="128638"/>
                </a:lnTo>
                <a:lnTo>
                  <a:pt x="925004" y="104800"/>
                </a:lnTo>
                <a:lnTo>
                  <a:pt x="895235" y="68300"/>
                </a:lnTo>
                <a:lnTo>
                  <a:pt x="858862" y="38595"/>
                </a:lnTo>
                <a:lnTo>
                  <a:pt x="837311" y="27254"/>
                </a:lnTo>
                <a:lnTo>
                  <a:pt x="818489" y="17348"/>
                </a:lnTo>
                <a:lnTo>
                  <a:pt x="775449" y="4546"/>
                </a:lnTo>
                <a:lnTo>
                  <a:pt x="731062" y="203"/>
                </a:lnTo>
                <a:lnTo>
                  <a:pt x="686663" y="4305"/>
                </a:lnTo>
                <a:lnTo>
                  <a:pt x="643585" y="16840"/>
                </a:lnTo>
                <a:lnTo>
                  <a:pt x="603161" y="37807"/>
                </a:lnTo>
                <a:lnTo>
                  <a:pt x="566699" y="67221"/>
                </a:lnTo>
                <a:lnTo>
                  <a:pt x="530161" y="37719"/>
                </a:lnTo>
                <a:lnTo>
                  <a:pt x="507644" y="26022"/>
                </a:lnTo>
                <a:lnTo>
                  <a:pt x="489686" y="16687"/>
                </a:lnTo>
                <a:lnTo>
                  <a:pt x="446608" y="4114"/>
                </a:lnTo>
                <a:lnTo>
                  <a:pt x="402221" y="0"/>
                </a:lnTo>
                <a:lnTo>
                  <a:pt x="357873" y="4368"/>
                </a:lnTo>
                <a:lnTo>
                  <a:pt x="314871" y="17195"/>
                </a:lnTo>
                <a:lnTo>
                  <a:pt x="274523" y="38506"/>
                </a:lnTo>
                <a:lnTo>
                  <a:pt x="238163" y="68300"/>
                </a:lnTo>
                <a:lnTo>
                  <a:pt x="208381" y="104800"/>
                </a:lnTo>
                <a:lnTo>
                  <a:pt x="187121" y="145326"/>
                </a:lnTo>
                <a:lnTo>
                  <a:pt x="174358" y="188544"/>
                </a:lnTo>
                <a:lnTo>
                  <a:pt x="170103" y="233108"/>
                </a:lnTo>
                <a:lnTo>
                  <a:pt x="174358" y="277672"/>
                </a:lnTo>
                <a:lnTo>
                  <a:pt x="187121" y="320890"/>
                </a:lnTo>
                <a:lnTo>
                  <a:pt x="208381" y="361416"/>
                </a:lnTo>
                <a:lnTo>
                  <a:pt x="238163" y="397916"/>
                </a:lnTo>
                <a:lnTo>
                  <a:pt x="524687" y="684707"/>
                </a:lnTo>
                <a:lnTo>
                  <a:pt x="566699" y="701941"/>
                </a:lnTo>
                <a:lnTo>
                  <a:pt x="578104" y="700874"/>
                </a:lnTo>
                <a:lnTo>
                  <a:pt x="589114" y="697661"/>
                </a:lnTo>
                <a:lnTo>
                  <a:pt x="599414" y="692277"/>
                </a:lnTo>
                <a:lnTo>
                  <a:pt x="608711" y="684707"/>
                </a:lnTo>
                <a:lnTo>
                  <a:pt x="617715" y="675678"/>
                </a:lnTo>
                <a:lnTo>
                  <a:pt x="895235" y="397916"/>
                </a:lnTo>
                <a:lnTo>
                  <a:pt x="925004" y="361416"/>
                </a:lnTo>
                <a:lnTo>
                  <a:pt x="946277" y="320890"/>
                </a:lnTo>
                <a:lnTo>
                  <a:pt x="959040" y="277672"/>
                </a:lnTo>
                <a:lnTo>
                  <a:pt x="963295" y="233108"/>
                </a:lnTo>
                <a:close/>
              </a:path>
            </a:pathLst>
          </a:custGeom>
          <a:solidFill>
            <a:srgbClr val="FF8F45"/>
          </a:solidFill>
        </p:spPr>
        <p:txBody>
          <a:bodyPr wrap="square" lIns="0" tIns="0" rIns="0" bIns="0" rtlCol="0"/>
          <a:lstStyle/>
          <a:p>
            <a:endParaRPr/>
          </a:p>
        </p:txBody>
      </p:sp>
      <p:pic>
        <p:nvPicPr>
          <p:cNvPr id="9" name="object 9"/>
          <p:cNvPicPr/>
          <p:nvPr/>
        </p:nvPicPr>
        <p:blipFill>
          <a:blip r:embed="rId6" cstate="email">
            <a:extLst>
              <a:ext uri="{28A0092B-C50C-407E-A947-70E740481C1C}">
                <a14:useLocalDpi xmlns:a14="http://schemas.microsoft.com/office/drawing/2010/main"/>
              </a:ext>
            </a:extLst>
          </a:blip>
          <a:stretch>
            <a:fillRect/>
          </a:stretch>
        </p:blipFill>
        <p:spPr>
          <a:xfrm>
            <a:off x="3245" y="26731"/>
            <a:ext cx="753872" cy="784324"/>
          </a:xfrm>
          <a:prstGeom prst="rect">
            <a:avLst/>
          </a:prstGeom>
        </p:spPr>
      </p:pic>
      <p:pic>
        <p:nvPicPr>
          <p:cNvPr id="10" name="object 10"/>
          <p:cNvPicPr/>
          <p:nvPr/>
        </p:nvPicPr>
        <p:blipFill>
          <a:blip r:embed="rId7" cstate="email">
            <a:extLst>
              <a:ext uri="{28A0092B-C50C-407E-A947-70E740481C1C}">
                <a14:useLocalDpi xmlns:a14="http://schemas.microsoft.com/office/drawing/2010/main"/>
              </a:ext>
            </a:extLst>
          </a:blip>
          <a:stretch>
            <a:fillRect/>
          </a:stretch>
        </p:blipFill>
        <p:spPr>
          <a:xfrm>
            <a:off x="380068" y="1943902"/>
            <a:ext cx="3124199" cy="3905249"/>
          </a:xfrm>
          <a:prstGeom prst="rect">
            <a:avLst/>
          </a:prstGeom>
        </p:spPr>
      </p:pic>
      <p:sp>
        <p:nvSpPr>
          <p:cNvPr id="11" name="object 11"/>
          <p:cNvSpPr txBox="1">
            <a:spLocks noGrp="1"/>
          </p:cNvSpPr>
          <p:nvPr>
            <p:ph type="title"/>
          </p:nvPr>
        </p:nvSpPr>
        <p:spPr>
          <a:xfrm>
            <a:off x="677333" y="284713"/>
            <a:ext cx="11034607" cy="728133"/>
          </a:xfrm>
          <a:prstGeom prst="rect">
            <a:avLst/>
          </a:prstGeom>
        </p:spPr>
        <p:txBody>
          <a:bodyPr vert="horz" wrap="square" lIns="0" tIns="8467" rIns="0" bIns="0" rtlCol="0">
            <a:spAutoFit/>
          </a:bodyPr>
          <a:lstStyle/>
          <a:p>
            <a:pPr marL="8467">
              <a:lnSpc>
                <a:spcPct val="100000"/>
              </a:lnSpc>
              <a:spcBef>
                <a:spcPts val="67"/>
              </a:spcBef>
            </a:pPr>
            <a:r>
              <a:rPr dirty="0"/>
              <a:t>Doula</a:t>
            </a:r>
            <a:r>
              <a:rPr spc="-223" dirty="0"/>
              <a:t> </a:t>
            </a:r>
            <a:r>
              <a:rPr spc="43" dirty="0"/>
              <a:t>Training/</a:t>
            </a:r>
            <a:r>
              <a:rPr spc="-223" dirty="0"/>
              <a:t> </a:t>
            </a:r>
            <a:r>
              <a:rPr spc="-193" dirty="0"/>
              <a:t>Birth</a:t>
            </a:r>
            <a:r>
              <a:rPr spc="-220" dirty="0"/>
              <a:t> </a:t>
            </a:r>
            <a:r>
              <a:rPr spc="123" dirty="0"/>
              <a:t>Associate</a:t>
            </a:r>
            <a:r>
              <a:rPr spc="-223" dirty="0"/>
              <a:t> </a:t>
            </a:r>
            <a:r>
              <a:rPr spc="-7" dirty="0"/>
              <a:t>Training</a:t>
            </a:r>
          </a:p>
        </p:txBody>
      </p:sp>
      <p:sp>
        <p:nvSpPr>
          <p:cNvPr id="12" name="object 12"/>
          <p:cNvSpPr txBox="1"/>
          <p:nvPr/>
        </p:nvSpPr>
        <p:spPr>
          <a:xfrm>
            <a:off x="677334" y="952275"/>
            <a:ext cx="10837333" cy="4907280"/>
          </a:xfrm>
          <a:prstGeom prst="rect">
            <a:avLst/>
          </a:prstGeom>
        </p:spPr>
        <p:txBody>
          <a:bodyPr vert="horz" wrap="square" lIns="0" tIns="8467" rIns="0" bIns="0" rtlCol="0">
            <a:spAutoFit/>
          </a:bodyPr>
          <a:lstStyle/>
          <a:p>
            <a:pPr marL="8467" marR="1210794">
              <a:lnSpc>
                <a:spcPct val="116300"/>
              </a:lnSpc>
              <a:spcBef>
                <a:spcPts val="67"/>
              </a:spcBef>
            </a:pPr>
            <a:r>
              <a:rPr sz="2400" b="1" spc="-27" dirty="0">
                <a:solidFill>
                  <a:srgbClr val="2ABEC1"/>
                </a:solidFill>
                <a:latin typeface="Trebuchet MS"/>
                <a:cs typeface="Trebuchet MS"/>
              </a:rPr>
              <a:t>Led</a:t>
            </a:r>
            <a:r>
              <a:rPr sz="2400" b="1" spc="-136" dirty="0">
                <a:solidFill>
                  <a:srgbClr val="2ABEC1"/>
                </a:solidFill>
                <a:latin typeface="Trebuchet MS"/>
                <a:cs typeface="Trebuchet MS"/>
              </a:rPr>
              <a:t> </a:t>
            </a:r>
            <a:r>
              <a:rPr sz="2400" b="1" dirty="0">
                <a:solidFill>
                  <a:srgbClr val="2ABEC1"/>
                </a:solidFill>
                <a:latin typeface="Trebuchet MS"/>
                <a:cs typeface="Trebuchet MS"/>
              </a:rPr>
              <a:t>by</a:t>
            </a:r>
            <a:r>
              <a:rPr sz="2400" b="1" spc="-133" dirty="0">
                <a:solidFill>
                  <a:srgbClr val="2ABEC1"/>
                </a:solidFill>
                <a:latin typeface="Trebuchet MS"/>
                <a:cs typeface="Trebuchet MS"/>
              </a:rPr>
              <a:t> </a:t>
            </a:r>
            <a:r>
              <a:rPr sz="2400" b="1" spc="30" dirty="0">
                <a:solidFill>
                  <a:srgbClr val="2ABEC1"/>
                </a:solidFill>
                <a:latin typeface="Trebuchet MS"/>
                <a:cs typeface="Trebuchet MS"/>
              </a:rPr>
              <a:t>LaKisha</a:t>
            </a:r>
            <a:r>
              <a:rPr sz="2400" b="1" spc="-130" dirty="0">
                <a:solidFill>
                  <a:srgbClr val="2ABEC1"/>
                </a:solidFill>
                <a:latin typeface="Trebuchet MS"/>
                <a:cs typeface="Trebuchet MS"/>
              </a:rPr>
              <a:t> </a:t>
            </a:r>
            <a:r>
              <a:rPr sz="2400" b="1" spc="-40" dirty="0">
                <a:solidFill>
                  <a:srgbClr val="2ABEC1"/>
                </a:solidFill>
                <a:latin typeface="Trebuchet MS"/>
                <a:cs typeface="Trebuchet MS"/>
              </a:rPr>
              <a:t>Redditt</a:t>
            </a:r>
            <a:r>
              <a:rPr sz="2400" b="1" spc="-127" dirty="0">
                <a:solidFill>
                  <a:srgbClr val="2ABEC1"/>
                </a:solidFill>
                <a:latin typeface="Trebuchet MS"/>
                <a:cs typeface="Trebuchet MS"/>
              </a:rPr>
              <a:t> </a:t>
            </a:r>
            <a:r>
              <a:rPr sz="2400" b="1" spc="-303" dirty="0">
                <a:solidFill>
                  <a:srgbClr val="2ABEC1"/>
                </a:solidFill>
                <a:latin typeface="Trebuchet MS"/>
                <a:cs typeface="Trebuchet MS"/>
              </a:rPr>
              <a:t>,</a:t>
            </a:r>
            <a:r>
              <a:rPr sz="2400" b="1" spc="-123" dirty="0">
                <a:solidFill>
                  <a:srgbClr val="2ABEC1"/>
                </a:solidFill>
                <a:latin typeface="Trebuchet MS"/>
                <a:cs typeface="Trebuchet MS"/>
              </a:rPr>
              <a:t> </a:t>
            </a:r>
            <a:r>
              <a:rPr sz="2400" b="1" spc="-7" dirty="0">
                <a:solidFill>
                  <a:srgbClr val="2ABEC1"/>
                </a:solidFill>
                <a:latin typeface="Trebuchet MS"/>
                <a:cs typeface="Trebuchet MS"/>
              </a:rPr>
              <a:t>Owner</a:t>
            </a:r>
            <a:r>
              <a:rPr sz="2400" b="1" spc="-130" dirty="0">
                <a:solidFill>
                  <a:srgbClr val="2ABEC1"/>
                </a:solidFill>
                <a:latin typeface="Trebuchet MS"/>
                <a:cs typeface="Trebuchet MS"/>
              </a:rPr>
              <a:t> </a:t>
            </a:r>
            <a:r>
              <a:rPr sz="2400" b="1" spc="60" dirty="0">
                <a:solidFill>
                  <a:srgbClr val="2ABEC1"/>
                </a:solidFill>
                <a:latin typeface="Trebuchet MS"/>
                <a:cs typeface="Trebuchet MS"/>
              </a:rPr>
              <a:t>and</a:t>
            </a:r>
            <a:r>
              <a:rPr sz="2400" b="1" spc="-130" dirty="0">
                <a:solidFill>
                  <a:srgbClr val="2ABEC1"/>
                </a:solidFill>
                <a:latin typeface="Trebuchet MS"/>
                <a:cs typeface="Trebuchet MS"/>
              </a:rPr>
              <a:t> </a:t>
            </a:r>
            <a:r>
              <a:rPr sz="2400" b="1" dirty="0">
                <a:solidFill>
                  <a:srgbClr val="2ABEC1"/>
                </a:solidFill>
                <a:latin typeface="Trebuchet MS"/>
                <a:cs typeface="Trebuchet MS"/>
              </a:rPr>
              <a:t>Operator</a:t>
            </a:r>
            <a:r>
              <a:rPr sz="2400" b="1" spc="-130" dirty="0">
                <a:solidFill>
                  <a:srgbClr val="2ABEC1"/>
                </a:solidFill>
                <a:latin typeface="Trebuchet MS"/>
                <a:cs typeface="Trebuchet MS"/>
              </a:rPr>
              <a:t> </a:t>
            </a:r>
            <a:r>
              <a:rPr sz="2400" b="1" dirty="0">
                <a:solidFill>
                  <a:srgbClr val="2ABEC1"/>
                </a:solidFill>
                <a:latin typeface="Trebuchet MS"/>
                <a:cs typeface="Trebuchet MS"/>
              </a:rPr>
              <a:t>of</a:t>
            </a:r>
            <a:r>
              <a:rPr sz="2400" b="1" spc="-127" dirty="0">
                <a:solidFill>
                  <a:srgbClr val="2ABEC1"/>
                </a:solidFill>
                <a:latin typeface="Trebuchet MS"/>
                <a:cs typeface="Trebuchet MS"/>
              </a:rPr>
              <a:t> </a:t>
            </a:r>
            <a:r>
              <a:rPr sz="2400" b="1" spc="-27" dirty="0">
                <a:solidFill>
                  <a:srgbClr val="2ABEC1"/>
                </a:solidFill>
                <a:latin typeface="Trebuchet MS"/>
                <a:cs typeface="Trebuchet MS"/>
              </a:rPr>
              <a:t>Virtuously</a:t>
            </a:r>
            <a:r>
              <a:rPr sz="2400" b="1" spc="-130" dirty="0">
                <a:solidFill>
                  <a:srgbClr val="2ABEC1"/>
                </a:solidFill>
                <a:latin typeface="Trebuchet MS"/>
                <a:cs typeface="Trebuchet MS"/>
              </a:rPr>
              <a:t> </a:t>
            </a:r>
            <a:r>
              <a:rPr sz="2400" b="1" spc="-27" dirty="0">
                <a:solidFill>
                  <a:srgbClr val="2ABEC1"/>
                </a:solidFill>
                <a:latin typeface="Trebuchet MS"/>
                <a:cs typeface="Trebuchet MS"/>
              </a:rPr>
              <a:t>B'Earthed </a:t>
            </a:r>
            <a:r>
              <a:rPr sz="2400" b="1" dirty="0">
                <a:solidFill>
                  <a:srgbClr val="2ABEC1"/>
                </a:solidFill>
                <a:latin typeface="Trebuchet MS"/>
                <a:cs typeface="Trebuchet MS"/>
              </a:rPr>
              <a:t>Doula</a:t>
            </a:r>
            <a:r>
              <a:rPr sz="2400" b="1" spc="-103" dirty="0">
                <a:solidFill>
                  <a:srgbClr val="2ABEC1"/>
                </a:solidFill>
                <a:latin typeface="Trebuchet MS"/>
                <a:cs typeface="Trebuchet MS"/>
              </a:rPr>
              <a:t> </a:t>
            </a:r>
            <a:r>
              <a:rPr sz="2400" b="1" spc="23" dirty="0">
                <a:solidFill>
                  <a:srgbClr val="2ABEC1"/>
                </a:solidFill>
                <a:latin typeface="Trebuchet MS"/>
                <a:cs typeface="Trebuchet MS"/>
              </a:rPr>
              <a:t>Services</a:t>
            </a:r>
            <a:endParaRPr sz="2400">
              <a:latin typeface="Trebuchet MS"/>
              <a:cs typeface="Trebuchet MS"/>
            </a:endParaRPr>
          </a:p>
          <a:p>
            <a:pPr marL="3061276" algn="just">
              <a:lnSpc>
                <a:spcPct val="100000"/>
              </a:lnSpc>
              <a:spcBef>
                <a:spcPts val="1087"/>
              </a:spcBef>
            </a:pPr>
            <a:r>
              <a:rPr sz="2267" spc="-190" dirty="0">
                <a:latin typeface="Arial Black"/>
                <a:cs typeface="Arial Black"/>
              </a:rPr>
              <a:t>LaKisha</a:t>
            </a:r>
            <a:r>
              <a:rPr sz="2267" spc="-160" dirty="0">
                <a:latin typeface="Arial Black"/>
                <a:cs typeface="Arial Black"/>
              </a:rPr>
              <a:t> </a:t>
            </a:r>
            <a:r>
              <a:rPr sz="2267" spc="-110" dirty="0">
                <a:latin typeface="Arial Black"/>
                <a:cs typeface="Arial Black"/>
              </a:rPr>
              <a:t>Redditt,</a:t>
            </a:r>
            <a:r>
              <a:rPr sz="2267" spc="-160" dirty="0">
                <a:latin typeface="Arial Black"/>
                <a:cs typeface="Arial Black"/>
              </a:rPr>
              <a:t> </a:t>
            </a:r>
            <a:r>
              <a:rPr sz="2267" spc="-197" dirty="0">
                <a:latin typeface="Arial Black"/>
                <a:cs typeface="Arial Black"/>
              </a:rPr>
              <a:t>B.S.,</a:t>
            </a:r>
            <a:r>
              <a:rPr sz="2267" spc="-160" dirty="0">
                <a:latin typeface="Arial Black"/>
                <a:cs typeface="Arial Black"/>
              </a:rPr>
              <a:t> </a:t>
            </a:r>
            <a:r>
              <a:rPr sz="2267" spc="-163" dirty="0">
                <a:latin typeface="Arial Black"/>
                <a:cs typeface="Arial Black"/>
              </a:rPr>
              <a:t>CHW-</a:t>
            </a:r>
            <a:r>
              <a:rPr sz="2267" spc="-223" dirty="0">
                <a:latin typeface="Arial Black"/>
                <a:cs typeface="Arial Black"/>
              </a:rPr>
              <a:t>C,</a:t>
            </a:r>
            <a:r>
              <a:rPr sz="2267" spc="-157" dirty="0">
                <a:latin typeface="Arial Black"/>
                <a:cs typeface="Arial Black"/>
              </a:rPr>
              <a:t> </a:t>
            </a:r>
            <a:r>
              <a:rPr sz="2267" spc="-7" dirty="0">
                <a:latin typeface="Arial Black"/>
                <a:cs typeface="Arial Black"/>
              </a:rPr>
              <a:t>Doula</a:t>
            </a:r>
            <a:endParaRPr sz="2267">
              <a:latin typeface="Arial Black"/>
              <a:cs typeface="Arial Black"/>
            </a:endParaRPr>
          </a:p>
          <a:p>
            <a:pPr>
              <a:lnSpc>
                <a:spcPct val="100000"/>
              </a:lnSpc>
              <a:spcBef>
                <a:spcPts val="50"/>
              </a:spcBef>
            </a:pPr>
            <a:endParaRPr sz="2267">
              <a:latin typeface="Arial Black"/>
              <a:cs typeface="Arial Black"/>
            </a:endParaRPr>
          </a:p>
          <a:p>
            <a:pPr marL="3061276" marR="2013474" algn="just">
              <a:lnSpc>
                <a:spcPct val="114599"/>
              </a:lnSpc>
            </a:pPr>
            <a:r>
              <a:rPr sz="2000" spc="-113" dirty="0">
                <a:latin typeface="Arial Black"/>
                <a:cs typeface="Arial Black"/>
              </a:rPr>
              <a:t>Owner</a:t>
            </a:r>
            <a:r>
              <a:rPr sz="2000" spc="-37" dirty="0">
                <a:latin typeface="Arial Black"/>
                <a:cs typeface="Arial Black"/>
              </a:rPr>
              <a:t> </a:t>
            </a:r>
            <a:r>
              <a:rPr sz="2000" spc="-107" dirty="0">
                <a:latin typeface="Arial Black"/>
                <a:cs typeface="Arial Black"/>
              </a:rPr>
              <a:t>of</a:t>
            </a:r>
            <a:r>
              <a:rPr sz="2000" spc="-37" dirty="0">
                <a:latin typeface="Arial Black"/>
                <a:cs typeface="Arial Black"/>
              </a:rPr>
              <a:t> </a:t>
            </a:r>
            <a:r>
              <a:rPr sz="2000" spc="-103" dirty="0">
                <a:latin typeface="Arial Black"/>
                <a:cs typeface="Arial Black"/>
              </a:rPr>
              <a:t>Virtuously</a:t>
            </a:r>
            <a:r>
              <a:rPr sz="2000" spc="-37" dirty="0">
                <a:latin typeface="Arial Black"/>
                <a:cs typeface="Arial Black"/>
              </a:rPr>
              <a:t> </a:t>
            </a:r>
            <a:r>
              <a:rPr sz="2000" spc="-130" dirty="0">
                <a:latin typeface="Arial Black"/>
                <a:cs typeface="Arial Black"/>
              </a:rPr>
              <a:t>B'Earthed</a:t>
            </a:r>
            <a:r>
              <a:rPr sz="2000" spc="-33" dirty="0">
                <a:latin typeface="Arial Black"/>
                <a:cs typeface="Arial Black"/>
              </a:rPr>
              <a:t> </a:t>
            </a:r>
            <a:r>
              <a:rPr sz="2000" spc="-107" dirty="0">
                <a:latin typeface="Arial Black"/>
                <a:cs typeface="Arial Black"/>
              </a:rPr>
              <a:t>Doula</a:t>
            </a:r>
            <a:r>
              <a:rPr sz="2000" spc="-37" dirty="0">
                <a:latin typeface="Arial Black"/>
                <a:cs typeface="Arial Black"/>
              </a:rPr>
              <a:t> </a:t>
            </a:r>
            <a:r>
              <a:rPr sz="2000" spc="-180" dirty="0">
                <a:latin typeface="Arial Black"/>
                <a:cs typeface="Arial Black"/>
              </a:rPr>
              <a:t>Services </a:t>
            </a:r>
            <a:r>
              <a:rPr sz="2000" spc="-97" dirty="0">
                <a:latin typeface="Arial Black"/>
                <a:cs typeface="Arial Black"/>
              </a:rPr>
              <a:t>Virtuous</a:t>
            </a:r>
            <a:r>
              <a:rPr sz="2000" spc="-136" dirty="0">
                <a:latin typeface="Arial Black"/>
                <a:cs typeface="Arial Black"/>
              </a:rPr>
              <a:t> </a:t>
            </a:r>
            <a:r>
              <a:rPr sz="2000" spc="-87" dirty="0">
                <a:latin typeface="Arial Black"/>
                <a:cs typeface="Arial Black"/>
              </a:rPr>
              <a:t>Doula</a:t>
            </a:r>
            <a:r>
              <a:rPr sz="2000" spc="-136" dirty="0">
                <a:latin typeface="Arial Black"/>
                <a:cs typeface="Arial Black"/>
              </a:rPr>
              <a:t> </a:t>
            </a:r>
            <a:r>
              <a:rPr sz="2000" spc="-13" dirty="0">
                <a:latin typeface="Arial Black"/>
                <a:cs typeface="Arial Black"/>
              </a:rPr>
              <a:t>Training</a:t>
            </a:r>
            <a:endParaRPr sz="2000">
              <a:latin typeface="Arial Black"/>
              <a:cs typeface="Arial Black"/>
            </a:endParaRPr>
          </a:p>
          <a:p>
            <a:pPr marL="3061276" marR="3387" algn="just">
              <a:lnSpc>
                <a:spcPct val="114599"/>
              </a:lnSpc>
            </a:pPr>
            <a:r>
              <a:rPr sz="2000" spc="-63" dirty="0">
                <a:latin typeface="Arial Black"/>
                <a:cs typeface="Arial Black"/>
              </a:rPr>
              <a:t>My</a:t>
            </a:r>
            <a:r>
              <a:rPr sz="2000" spc="-103" dirty="0">
                <a:latin typeface="Arial Black"/>
                <a:cs typeface="Arial Black"/>
              </a:rPr>
              <a:t> </a:t>
            </a:r>
            <a:r>
              <a:rPr sz="2000" spc="-147" dirty="0">
                <a:latin typeface="Arial Black"/>
                <a:cs typeface="Arial Black"/>
              </a:rPr>
              <a:t>12-</a:t>
            </a:r>
            <a:r>
              <a:rPr sz="2000" spc="-153" dirty="0">
                <a:latin typeface="Arial Black"/>
                <a:cs typeface="Arial Black"/>
              </a:rPr>
              <a:t>week</a:t>
            </a:r>
            <a:r>
              <a:rPr sz="2000" spc="-103" dirty="0">
                <a:latin typeface="Arial Black"/>
                <a:cs typeface="Arial Black"/>
              </a:rPr>
              <a:t> </a:t>
            </a:r>
            <a:r>
              <a:rPr sz="2000" spc="-60" dirty="0">
                <a:latin typeface="Arial Black"/>
                <a:cs typeface="Arial Black"/>
              </a:rPr>
              <a:t>hybrid</a:t>
            </a:r>
            <a:r>
              <a:rPr sz="2000" spc="-103" dirty="0">
                <a:latin typeface="Arial Black"/>
                <a:cs typeface="Arial Black"/>
              </a:rPr>
              <a:t> </a:t>
            </a:r>
            <a:r>
              <a:rPr sz="2000" spc="-143" dirty="0">
                <a:latin typeface="Arial Black"/>
                <a:cs typeface="Arial Black"/>
              </a:rPr>
              <a:t>course</a:t>
            </a:r>
            <a:r>
              <a:rPr sz="2000" spc="-103" dirty="0">
                <a:latin typeface="Arial Black"/>
                <a:cs typeface="Arial Black"/>
              </a:rPr>
              <a:t> </a:t>
            </a:r>
            <a:r>
              <a:rPr sz="2000" spc="-150" dirty="0">
                <a:latin typeface="Arial Black"/>
                <a:cs typeface="Arial Black"/>
              </a:rPr>
              <a:t>is</a:t>
            </a:r>
            <a:r>
              <a:rPr sz="2000" spc="-103" dirty="0">
                <a:latin typeface="Arial Black"/>
                <a:cs typeface="Arial Black"/>
              </a:rPr>
              <a:t> </a:t>
            </a:r>
            <a:r>
              <a:rPr sz="2000" spc="-133" dirty="0">
                <a:latin typeface="Arial Black"/>
                <a:cs typeface="Arial Black"/>
              </a:rPr>
              <a:t>a</a:t>
            </a:r>
            <a:r>
              <a:rPr sz="2000" spc="-103" dirty="0">
                <a:latin typeface="Arial Black"/>
                <a:cs typeface="Arial Black"/>
              </a:rPr>
              <a:t> </a:t>
            </a:r>
            <a:r>
              <a:rPr sz="2000" spc="-117" dirty="0">
                <a:latin typeface="Arial Black"/>
                <a:cs typeface="Arial Black"/>
              </a:rPr>
              <a:t>comprehensive</a:t>
            </a:r>
            <a:r>
              <a:rPr sz="2000" spc="-103" dirty="0">
                <a:latin typeface="Arial Black"/>
                <a:cs typeface="Arial Black"/>
              </a:rPr>
              <a:t> </a:t>
            </a:r>
            <a:r>
              <a:rPr sz="2000" spc="-87" dirty="0">
                <a:latin typeface="Arial Black"/>
                <a:cs typeface="Arial Black"/>
              </a:rPr>
              <a:t>Doula</a:t>
            </a:r>
            <a:r>
              <a:rPr sz="2000" spc="-103" dirty="0">
                <a:latin typeface="Arial Black"/>
                <a:cs typeface="Arial Black"/>
              </a:rPr>
              <a:t> Training</a:t>
            </a:r>
            <a:r>
              <a:rPr sz="2000" spc="-107" dirty="0">
                <a:latin typeface="Arial Black"/>
                <a:cs typeface="Arial Black"/>
              </a:rPr>
              <a:t> </a:t>
            </a:r>
            <a:r>
              <a:rPr sz="2000" spc="-80" dirty="0">
                <a:latin typeface="Arial Black"/>
                <a:cs typeface="Arial Black"/>
              </a:rPr>
              <a:t>with</a:t>
            </a:r>
            <a:r>
              <a:rPr sz="2000" spc="517" dirty="0">
                <a:latin typeface="Arial Black"/>
                <a:cs typeface="Arial Black"/>
              </a:rPr>
              <a:t> </a:t>
            </a:r>
            <a:r>
              <a:rPr sz="2000" spc="-93" dirty="0">
                <a:latin typeface="Arial Black"/>
                <a:cs typeface="Arial Black"/>
              </a:rPr>
              <a:t>hands-</a:t>
            </a:r>
            <a:r>
              <a:rPr sz="2000" spc="-70" dirty="0">
                <a:latin typeface="Arial Black"/>
                <a:cs typeface="Arial Black"/>
              </a:rPr>
              <a:t>on</a:t>
            </a:r>
            <a:r>
              <a:rPr sz="2000" spc="517" dirty="0">
                <a:latin typeface="Arial Black"/>
                <a:cs typeface="Arial Black"/>
              </a:rPr>
              <a:t> </a:t>
            </a:r>
            <a:r>
              <a:rPr sz="2000" spc="-90" dirty="0">
                <a:latin typeface="Arial Black"/>
                <a:cs typeface="Arial Black"/>
              </a:rPr>
              <a:t>learning</a:t>
            </a:r>
            <a:r>
              <a:rPr sz="2000" spc="517" dirty="0">
                <a:latin typeface="Arial Black"/>
                <a:cs typeface="Arial Black"/>
              </a:rPr>
              <a:t> </a:t>
            </a:r>
            <a:r>
              <a:rPr sz="2000" spc="-93" dirty="0">
                <a:latin typeface="Arial Black"/>
                <a:cs typeface="Arial Black"/>
              </a:rPr>
              <a:t>incorporated</a:t>
            </a:r>
            <a:r>
              <a:rPr sz="2000" spc="517" dirty="0">
                <a:latin typeface="Arial Black"/>
                <a:cs typeface="Arial Black"/>
              </a:rPr>
              <a:t> </a:t>
            </a:r>
            <a:r>
              <a:rPr sz="2000" spc="-60" dirty="0">
                <a:latin typeface="Arial Black"/>
                <a:cs typeface="Arial Black"/>
              </a:rPr>
              <a:t>into</a:t>
            </a:r>
            <a:r>
              <a:rPr sz="2000" spc="517" dirty="0">
                <a:latin typeface="Arial Black"/>
                <a:cs typeface="Arial Black"/>
              </a:rPr>
              <a:t> </a:t>
            </a:r>
            <a:r>
              <a:rPr sz="2000" spc="-73" dirty="0">
                <a:latin typeface="Arial Black"/>
                <a:cs typeface="Arial Black"/>
              </a:rPr>
              <a:t>the</a:t>
            </a:r>
            <a:r>
              <a:rPr sz="2000" spc="517" dirty="0">
                <a:latin typeface="Arial Black"/>
                <a:cs typeface="Arial Black"/>
              </a:rPr>
              <a:t> </a:t>
            </a:r>
            <a:r>
              <a:rPr sz="2000" spc="-90" dirty="0">
                <a:latin typeface="Arial Black"/>
                <a:cs typeface="Arial Black"/>
              </a:rPr>
              <a:t>curriculum.</a:t>
            </a:r>
            <a:r>
              <a:rPr sz="2000" spc="-100" dirty="0">
                <a:latin typeface="Arial Black"/>
                <a:cs typeface="Arial Black"/>
              </a:rPr>
              <a:t> </a:t>
            </a:r>
            <a:r>
              <a:rPr sz="2000" spc="-123" dirty="0">
                <a:latin typeface="Arial Black"/>
                <a:cs typeface="Arial Black"/>
              </a:rPr>
              <a:t>We</a:t>
            </a:r>
            <a:r>
              <a:rPr sz="2000" spc="453" dirty="0">
                <a:latin typeface="Arial Black"/>
                <a:cs typeface="Arial Black"/>
              </a:rPr>
              <a:t> </a:t>
            </a:r>
            <a:r>
              <a:rPr sz="2000" spc="-83" dirty="0">
                <a:latin typeface="Arial Black"/>
                <a:cs typeface="Arial Black"/>
              </a:rPr>
              <a:t>talk</a:t>
            </a:r>
            <a:r>
              <a:rPr sz="2000" spc="453" dirty="0">
                <a:latin typeface="Arial Black"/>
                <a:cs typeface="Arial Black"/>
              </a:rPr>
              <a:t> </a:t>
            </a:r>
            <a:r>
              <a:rPr sz="2000" spc="-80" dirty="0">
                <a:latin typeface="Arial Black"/>
                <a:cs typeface="Arial Black"/>
              </a:rPr>
              <a:t>about</a:t>
            </a:r>
            <a:r>
              <a:rPr sz="2000" spc="453" dirty="0">
                <a:latin typeface="Arial Black"/>
                <a:cs typeface="Arial Black"/>
              </a:rPr>
              <a:t> </a:t>
            </a:r>
            <a:r>
              <a:rPr sz="2000" spc="-87" dirty="0">
                <a:latin typeface="Arial Black"/>
                <a:cs typeface="Arial Black"/>
              </a:rPr>
              <a:t>all</a:t>
            </a:r>
            <a:r>
              <a:rPr sz="2000" spc="453" dirty="0">
                <a:latin typeface="Arial Black"/>
                <a:cs typeface="Arial Black"/>
              </a:rPr>
              <a:t> </a:t>
            </a:r>
            <a:r>
              <a:rPr sz="2000" spc="-60" dirty="0">
                <a:latin typeface="Arial Black"/>
                <a:cs typeface="Arial Black"/>
              </a:rPr>
              <a:t>of</a:t>
            </a:r>
            <a:r>
              <a:rPr sz="2000" spc="453" dirty="0">
                <a:latin typeface="Arial Black"/>
                <a:cs typeface="Arial Black"/>
              </a:rPr>
              <a:t> </a:t>
            </a:r>
            <a:r>
              <a:rPr sz="2000" spc="-73" dirty="0">
                <a:latin typeface="Arial Black"/>
                <a:cs typeface="Arial Black"/>
              </a:rPr>
              <a:t>the</a:t>
            </a:r>
            <a:r>
              <a:rPr sz="2000" spc="453" dirty="0">
                <a:latin typeface="Arial Black"/>
                <a:cs typeface="Arial Black"/>
              </a:rPr>
              <a:t> </a:t>
            </a:r>
            <a:r>
              <a:rPr sz="2000" spc="-70" dirty="0">
                <a:latin typeface="Arial Black"/>
                <a:cs typeface="Arial Black"/>
              </a:rPr>
              <a:t>traditional</a:t>
            </a:r>
            <a:r>
              <a:rPr sz="2000" spc="453" dirty="0">
                <a:latin typeface="Arial Black"/>
                <a:cs typeface="Arial Black"/>
              </a:rPr>
              <a:t> </a:t>
            </a:r>
            <a:r>
              <a:rPr sz="2000" spc="-87" dirty="0">
                <a:latin typeface="Arial Black"/>
                <a:cs typeface="Arial Black"/>
              </a:rPr>
              <a:t>doula</a:t>
            </a:r>
            <a:r>
              <a:rPr sz="2000" spc="453" dirty="0">
                <a:latin typeface="Arial Black"/>
                <a:cs typeface="Arial Black"/>
              </a:rPr>
              <a:t> </a:t>
            </a:r>
            <a:r>
              <a:rPr sz="2000" spc="-140" dirty="0">
                <a:latin typeface="Arial Black"/>
                <a:cs typeface="Arial Black"/>
              </a:rPr>
              <a:t>topics</a:t>
            </a:r>
            <a:r>
              <a:rPr sz="2000" spc="453" dirty="0">
                <a:latin typeface="Arial Black"/>
                <a:cs typeface="Arial Black"/>
              </a:rPr>
              <a:t> </a:t>
            </a:r>
            <a:r>
              <a:rPr sz="2000" spc="-153" dirty="0">
                <a:latin typeface="Arial Black"/>
                <a:cs typeface="Arial Black"/>
              </a:rPr>
              <a:t>such</a:t>
            </a:r>
            <a:r>
              <a:rPr sz="2000" spc="453" dirty="0">
                <a:latin typeface="Arial Black"/>
                <a:cs typeface="Arial Black"/>
              </a:rPr>
              <a:t> </a:t>
            </a:r>
            <a:r>
              <a:rPr sz="2000" spc="-187" dirty="0">
                <a:latin typeface="Arial Black"/>
                <a:cs typeface="Arial Black"/>
              </a:rPr>
              <a:t>as</a:t>
            </a:r>
            <a:r>
              <a:rPr sz="2000" spc="-127" dirty="0">
                <a:latin typeface="Arial Black"/>
                <a:cs typeface="Arial Black"/>
              </a:rPr>
              <a:t> </a:t>
            </a:r>
            <a:r>
              <a:rPr sz="2000" spc="-87" dirty="0">
                <a:latin typeface="Arial Black"/>
                <a:cs typeface="Arial Black"/>
              </a:rPr>
              <a:t>comfort</a:t>
            </a:r>
            <a:r>
              <a:rPr sz="2000" spc="770" dirty="0">
                <a:latin typeface="Arial Black"/>
                <a:cs typeface="Arial Black"/>
              </a:rPr>
              <a:t> </a:t>
            </a:r>
            <a:r>
              <a:rPr sz="2000" spc="-123" dirty="0">
                <a:latin typeface="Arial Black"/>
                <a:cs typeface="Arial Black"/>
              </a:rPr>
              <a:t>measures,</a:t>
            </a:r>
            <a:r>
              <a:rPr sz="2000" spc="770" dirty="0">
                <a:latin typeface="Arial Black"/>
                <a:cs typeface="Arial Black"/>
              </a:rPr>
              <a:t> </a:t>
            </a:r>
            <a:r>
              <a:rPr sz="2000" spc="-167" dirty="0">
                <a:latin typeface="Arial Black"/>
                <a:cs typeface="Arial Black"/>
              </a:rPr>
              <a:t>places</a:t>
            </a:r>
            <a:r>
              <a:rPr sz="2000" spc="770" dirty="0">
                <a:latin typeface="Arial Black"/>
                <a:cs typeface="Arial Black"/>
              </a:rPr>
              <a:t> </a:t>
            </a:r>
            <a:r>
              <a:rPr sz="2000" spc="-60" dirty="0">
                <a:latin typeface="Arial Black"/>
                <a:cs typeface="Arial Black"/>
              </a:rPr>
              <a:t>of</a:t>
            </a:r>
            <a:r>
              <a:rPr sz="2000" spc="770" dirty="0">
                <a:latin typeface="Arial Black"/>
                <a:cs typeface="Arial Black"/>
              </a:rPr>
              <a:t> </a:t>
            </a:r>
            <a:r>
              <a:rPr sz="2000" spc="-50" dirty="0">
                <a:latin typeface="Arial Black"/>
                <a:cs typeface="Arial Black"/>
              </a:rPr>
              <a:t>birth,</a:t>
            </a:r>
            <a:r>
              <a:rPr sz="2000" spc="770" dirty="0">
                <a:latin typeface="Arial Black"/>
                <a:cs typeface="Arial Black"/>
              </a:rPr>
              <a:t> </a:t>
            </a:r>
            <a:r>
              <a:rPr sz="2000" spc="-153" dirty="0">
                <a:latin typeface="Arial Black"/>
                <a:cs typeface="Arial Black"/>
              </a:rPr>
              <a:t>etc.</a:t>
            </a:r>
            <a:r>
              <a:rPr sz="2000" spc="770" dirty="0">
                <a:latin typeface="Arial Black"/>
                <a:cs typeface="Arial Black"/>
              </a:rPr>
              <a:t> </a:t>
            </a:r>
            <a:r>
              <a:rPr sz="2000" spc="-73" dirty="0">
                <a:latin typeface="Arial Black"/>
                <a:cs typeface="Arial Black"/>
              </a:rPr>
              <a:t>In</a:t>
            </a:r>
            <a:r>
              <a:rPr sz="2000" spc="770" dirty="0">
                <a:latin typeface="Arial Black"/>
                <a:cs typeface="Arial Black"/>
              </a:rPr>
              <a:t> </a:t>
            </a:r>
            <a:r>
              <a:rPr sz="2000" spc="-76" dirty="0">
                <a:latin typeface="Arial Black"/>
                <a:cs typeface="Arial Black"/>
              </a:rPr>
              <a:t>addition,</a:t>
            </a:r>
            <a:r>
              <a:rPr sz="2000" spc="770" dirty="0">
                <a:latin typeface="Arial Black"/>
                <a:cs typeface="Arial Black"/>
              </a:rPr>
              <a:t> </a:t>
            </a:r>
            <a:r>
              <a:rPr sz="2000" spc="-177" dirty="0">
                <a:latin typeface="Arial Black"/>
                <a:cs typeface="Arial Black"/>
              </a:rPr>
              <a:t>we</a:t>
            </a:r>
            <a:r>
              <a:rPr sz="2000" spc="-80" dirty="0">
                <a:latin typeface="Arial Black"/>
                <a:cs typeface="Arial Black"/>
              </a:rPr>
              <a:t> </a:t>
            </a:r>
            <a:r>
              <a:rPr sz="2000" spc="-173" dirty="0">
                <a:latin typeface="Arial Black"/>
                <a:cs typeface="Arial Black"/>
              </a:rPr>
              <a:t>discuss</a:t>
            </a:r>
            <a:r>
              <a:rPr sz="2000" spc="1207" dirty="0">
                <a:latin typeface="Arial Black"/>
                <a:cs typeface="Arial Black"/>
              </a:rPr>
              <a:t> </a:t>
            </a:r>
            <a:r>
              <a:rPr sz="2000" spc="-113" dirty="0">
                <a:latin typeface="Arial Black"/>
                <a:cs typeface="Arial Black"/>
              </a:rPr>
              <a:t>elements</a:t>
            </a:r>
            <a:r>
              <a:rPr sz="2000" spc="1207" dirty="0">
                <a:latin typeface="Arial Black"/>
                <a:cs typeface="Arial Black"/>
              </a:rPr>
              <a:t> </a:t>
            </a:r>
            <a:r>
              <a:rPr sz="2000" spc="-60" dirty="0">
                <a:latin typeface="Arial Black"/>
                <a:cs typeface="Arial Black"/>
              </a:rPr>
              <a:t>of</a:t>
            </a:r>
            <a:r>
              <a:rPr sz="2000" spc="1207" dirty="0">
                <a:latin typeface="Arial Black"/>
                <a:cs typeface="Arial Black"/>
              </a:rPr>
              <a:t> </a:t>
            </a:r>
            <a:r>
              <a:rPr sz="2000" spc="-73" dirty="0">
                <a:latin typeface="Arial Black"/>
                <a:cs typeface="Arial Black"/>
              </a:rPr>
              <a:t>public/community</a:t>
            </a:r>
            <a:r>
              <a:rPr sz="2000" spc="1207" dirty="0">
                <a:latin typeface="Arial Black"/>
                <a:cs typeface="Arial Black"/>
              </a:rPr>
              <a:t> </a:t>
            </a:r>
            <a:r>
              <a:rPr sz="2000" spc="-80" dirty="0">
                <a:latin typeface="Arial Black"/>
                <a:cs typeface="Arial Black"/>
              </a:rPr>
              <a:t>health,</a:t>
            </a:r>
            <a:r>
              <a:rPr sz="2000" spc="1207" dirty="0">
                <a:latin typeface="Arial Black"/>
                <a:cs typeface="Arial Black"/>
              </a:rPr>
              <a:t> </a:t>
            </a:r>
            <a:r>
              <a:rPr sz="2000" spc="-83" dirty="0">
                <a:latin typeface="Arial Black"/>
                <a:cs typeface="Arial Black"/>
              </a:rPr>
              <a:t>cultural</a:t>
            </a:r>
            <a:r>
              <a:rPr sz="2000" spc="-60" dirty="0">
                <a:latin typeface="Arial Black"/>
                <a:cs typeface="Arial Black"/>
              </a:rPr>
              <a:t> </a:t>
            </a:r>
            <a:r>
              <a:rPr sz="2000" spc="-133" dirty="0">
                <a:latin typeface="Arial Black"/>
                <a:cs typeface="Arial Black"/>
              </a:rPr>
              <a:t>competency,</a:t>
            </a:r>
            <a:r>
              <a:rPr sz="2000" spc="613" dirty="0">
                <a:latin typeface="Arial Black"/>
                <a:cs typeface="Arial Black"/>
              </a:rPr>
              <a:t> </a:t>
            </a:r>
            <a:r>
              <a:rPr sz="2000" spc="-76" dirty="0">
                <a:latin typeface="Arial Black"/>
                <a:cs typeface="Arial Black"/>
              </a:rPr>
              <a:t>health</a:t>
            </a:r>
            <a:r>
              <a:rPr sz="2000" spc="613" dirty="0">
                <a:latin typeface="Arial Black"/>
                <a:cs typeface="Arial Black"/>
              </a:rPr>
              <a:t> </a:t>
            </a:r>
            <a:r>
              <a:rPr sz="2000" spc="-140" dirty="0">
                <a:latin typeface="Arial Black"/>
                <a:cs typeface="Arial Black"/>
              </a:rPr>
              <a:t>awareness,</a:t>
            </a:r>
            <a:r>
              <a:rPr sz="2000" spc="613" dirty="0">
                <a:latin typeface="Arial Black"/>
                <a:cs typeface="Arial Black"/>
              </a:rPr>
              <a:t> </a:t>
            </a:r>
            <a:r>
              <a:rPr sz="2000" spc="-147" dirty="0">
                <a:latin typeface="Arial Black"/>
                <a:cs typeface="Arial Black"/>
              </a:rPr>
              <a:t>capacity</a:t>
            </a:r>
            <a:r>
              <a:rPr sz="2000" spc="613" dirty="0">
                <a:latin typeface="Arial Black"/>
                <a:cs typeface="Arial Black"/>
              </a:rPr>
              <a:t> </a:t>
            </a:r>
            <a:r>
              <a:rPr sz="2000" spc="-80" dirty="0">
                <a:latin typeface="Arial Black"/>
                <a:cs typeface="Arial Black"/>
              </a:rPr>
              <a:t>building,</a:t>
            </a:r>
            <a:r>
              <a:rPr sz="2000" spc="613" dirty="0">
                <a:latin typeface="Arial Black"/>
                <a:cs typeface="Arial Black"/>
              </a:rPr>
              <a:t> </a:t>
            </a:r>
            <a:r>
              <a:rPr sz="2000" spc="-80" dirty="0">
                <a:latin typeface="Arial Black"/>
                <a:cs typeface="Arial Black"/>
              </a:rPr>
              <a:t>mental</a:t>
            </a:r>
            <a:r>
              <a:rPr sz="2000" spc="-60" dirty="0">
                <a:latin typeface="Arial Black"/>
                <a:cs typeface="Arial Black"/>
              </a:rPr>
              <a:t> </a:t>
            </a:r>
            <a:r>
              <a:rPr sz="2000" spc="-80" dirty="0">
                <a:latin typeface="Arial Black"/>
                <a:cs typeface="Arial Black"/>
              </a:rPr>
              <a:t>health,</a:t>
            </a:r>
            <a:r>
              <a:rPr sz="2000" spc="-150" dirty="0">
                <a:latin typeface="Arial Black"/>
                <a:cs typeface="Arial Black"/>
              </a:rPr>
              <a:t> </a:t>
            </a:r>
            <a:r>
              <a:rPr sz="2000" spc="-83" dirty="0">
                <a:latin typeface="Arial Black"/>
                <a:cs typeface="Arial Black"/>
              </a:rPr>
              <a:t>and</a:t>
            </a:r>
            <a:r>
              <a:rPr sz="2000" spc="-150" dirty="0">
                <a:latin typeface="Arial Black"/>
                <a:cs typeface="Arial Black"/>
              </a:rPr>
              <a:t> </a:t>
            </a:r>
            <a:r>
              <a:rPr sz="2000" spc="-83" dirty="0">
                <a:latin typeface="Arial Black"/>
                <a:cs typeface="Arial Black"/>
              </a:rPr>
              <a:t>more.</a:t>
            </a:r>
            <a:endParaRPr sz="2000">
              <a:latin typeface="Arial Black"/>
              <a:cs typeface="Arial Black"/>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601898" y="647742"/>
            <a:ext cx="3678343" cy="585893"/>
          </a:xfrm>
          <a:prstGeom prst="rect">
            <a:avLst/>
          </a:prstGeom>
        </p:spPr>
        <p:txBody>
          <a:bodyPr vert="horz" wrap="square" lIns="0" tIns="8467" rIns="0" bIns="0" rtlCol="0">
            <a:spAutoFit/>
          </a:bodyPr>
          <a:lstStyle/>
          <a:p>
            <a:pPr marL="8467">
              <a:lnSpc>
                <a:spcPct val="100000"/>
              </a:lnSpc>
              <a:spcBef>
                <a:spcPts val="67"/>
              </a:spcBef>
            </a:pPr>
            <a:r>
              <a:rPr sz="3734" dirty="0">
                <a:solidFill>
                  <a:srgbClr val="000000"/>
                </a:solidFill>
              </a:rPr>
              <a:t>What</a:t>
            </a:r>
            <a:r>
              <a:rPr sz="3734" spc="-180" dirty="0">
                <a:solidFill>
                  <a:srgbClr val="000000"/>
                </a:solidFill>
              </a:rPr>
              <a:t> </a:t>
            </a:r>
            <a:r>
              <a:rPr sz="3734" spc="93" dirty="0">
                <a:solidFill>
                  <a:srgbClr val="000000"/>
                </a:solidFill>
              </a:rPr>
              <a:t>is</a:t>
            </a:r>
            <a:r>
              <a:rPr sz="3734" spc="-177" dirty="0">
                <a:solidFill>
                  <a:srgbClr val="000000"/>
                </a:solidFill>
              </a:rPr>
              <a:t> </a:t>
            </a:r>
            <a:r>
              <a:rPr sz="3734" spc="297" dirty="0">
                <a:solidFill>
                  <a:srgbClr val="000000"/>
                </a:solidFill>
              </a:rPr>
              <a:t>a</a:t>
            </a:r>
            <a:r>
              <a:rPr sz="3734" spc="-177" dirty="0">
                <a:solidFill>
                  <a:srgbClr val="000000"/>
                </a:solidFill>
              </a:rPr>
              <a:t> </a:t>
            </a:r>
            <a:r>
              <a:rPr sz="3734" spc="27" dirty="0">
                <a:solidFill>
                  <a:srgbClr val="000000"/>
                </a:solidFill>
              </a:rPr>
              <a:t>Doula?</a:t>
            </a:r>
            <a:endParaRPr sz="3734"/>
          </a:p>
        </p:txBody>
      </p:sp>
      <p:sp>
        <p:nvSpPr>
          <p:cNvPr id="3" name="object 3"/>
          <p:cNvSpPr txBox="1">
            <a:spLocks noGrp="1"/>
          </p:cNvSpPr>
          <p:nvPr>
            <p:ph type="body" idx="1"/>
          </p:nvPr>
        </p:nvSpPr>
        <p:spPr>
          <a:prstGeom prst="rect">
            <a:avLst/>
          </a:prstGeom>
        </p:spPr>
        <p:txBody>
          <a:bodyPr vert="horz" wrap="square" lIns="0" tIns="9313" rIns="0" bIns="0" rtlCol="0">
            <a:spAutoFit/>
          </a:bodyPr>
          <a:lstStyle/>
          <a:p>
            <a:pPr marL="8467">
              <a:lnSpc>
                <a:spcPct val="100000"/>
              </a:lnSpc>
              <a:spcBef>
                <a:spcPts val="73"/>
              </a:spcBef>
            </a:pPr>
            <a:r>
              <a:rPr spc="-113" dirty="0"/>
              <a:t>THE</a:t>
            </a:r>
            <a:r>
              <a:rPr spc="-90" dirty="0"/>
              <a:t> </a:t>
            </a:r>
            <a:r>
              <a:rPr dirty="0"/>
              <a:t>DOULA</a:t>
            </a:r>
            <a:r>
              <a:rPr spc="-87" dirty="0"/>
              <a:t> </a:t>
            </a:r>
            <a:r>
              <a:rPr spc="-17" dirty="0"/>
              <a:t>LAB</a:t>
            </a:r>
          </a:p>
          <a:p>
            <a:pPr marL="8467" marR="3387">
              <a:lnSpc>
                <a:spcPct val="131500"/>
              </a:lnSpc>
              <a:spcBef>
                <a:spcPts val="2317"/>
              </a:spcBef>
            </a:pPr>
            <a:r>
              <a:rPr sz="1867" b="0" spc="-147" dirty="0">
                <a:latin typeface="Arial Black"/>
                <a:cs typeface="Arial Black"/>
              </a:rPr>
              <a:t>The</a:t>
            </a:r>
            <a:r>
              <a:rPr sz="1867" b="0" spc="-127" dirty="0">
                <a:latin typeface="Arial Black"/>
                <a:cs typeface="Arial Black"/>
              </a:rPr>
              <a:t> </a:t>
            </a:r>
            <a:r>
              <a:rPr sz="1867" b="0" spc="-87" dirty="0">
                <a:latin typeface="Arial Black"/>
                <a:cs typeface="Arial Black"/>
              </a:rPr>
              <a:t>doula's</a:t>
            </a:r>
            <a:r>
              <a:rPr sz="1867" b="0" spc="-123" dirty="0">
                <a:latin typeface="Arial Black"/>
                <a:cs typeface="Arial Black"/>
              </a:rPr>
              <a:t> </a:t>
            </a:r>
            <a:r>
              <a:rPr sz="1867" b="0" spc="-110" dirty="0">
                <a:latin typeface="Arial Black"/>
                <a:cs typeface="Arial Black"/>
              </a:rPr>
              <a:t>goal</a:t>
            </a:r>
            <a:r>
              <a:rPr sz="1867" b="0" spc="-127" dirty="0">
                <a:latin typeface="Arial Black"/>
                <a:cs typeface="Arial Black"/>
              </a:rPr>
              <a:t> </a:t>
            </a:r>
            <a:r>
              <a:rPr sz="1867" b="0" spc="-67" dirty="0">
                <a:latin typeface="Arial Black"/>
                <a:cs typeface="Arial Black"/>
              </a:rPr>
              <a:t>and</a:t>
            </a:r>
            <a:r>
              <a:rPr sz="1867" b="0" spc="-123" dirty="0">
                <a:latin typeface="Arial Black"/>
                <a:cs typeface="Arial Black"/>
              </a:rPr>
              <a:t> </a:t>
            </a:r>
            <a:r>
              <a:rPr sz="1867" b="0" spc="-70" dirty="0">
                <a:latin typeface="Arial Black"/>
                <a:cs typeface="Arial Black"/>
              </a:rPr>
              <a:t>role</a:t>
            </a:r>
            <a:r>
              <a:rPr sz="1867" b="0" spc="-127" dirty="0">
                <a:latin typeface="Arial Black"/>
                <a:cs typeface="Arial Black"/>
              </a:rPr>
              <a:t> </a:t>
            </a:r>
            <a:r>
              <a:rPr sz="1867" b="0" spc="-136" dirty="0">
                <a:latin typeface="Arial Black"/>
                <a:cs typeface="Arial Black"/>
              </a:rPr>
              <a:t>is</a:t>
            </a:r>
            <a:r>
              <a:rPr sz="1867" b="0" spc="-123" dirty="0">
                <a:latin typeface="Arial Black"/>
                <a:cs typeface="Arial Black"/>
              </a:rPr>
              <a:t> </a:t>
            </a:r>
            <a:r>
              <a:rPr sz="1867" b="0" spc="-57" dirty="0">
                <a:latin typeface="Arial Black"/>
                <a:cs typeface="Arial Black"/>
              </a:rPr>
              <a:t>to</a:t>
            </a:r>
            <a:r>
              <a:rPr sz="1867" b="0" spc="-127" dirty="0">
                <a:latin typeface="Arial Black"/>
                <a:cs typeface="Arial Black"/>
              </a:rPr>
              <a:t> </a:t>
            </a:r>
            <a:r>
              <a:rPr sz="1867" b="0" spc="-67" dirty="0">
                <a:latin typeface="Arial Black"/>
                <a:cs typeface="Arial Black"/>
              </a:rPr>
              <a:t>help</a:t>
            </a:r>
            <a:r>
              <a:rPr sz="1867" b="0" spc="-123" dirty="0">
                <a:latin typeface="Arial Black"/>
                <a:cs typeface="Arial Black"/>
              </a:rPr>
              <a:t> </a:t>
            </a:r>
            <a:r>
              <a:rPr sz="1867" b="0" spc="-60" dirty="0">
                <a:latin typeface="Arial Black"/>
                <a:cs typeface="Arial Black"/>
              </a:rPr>
              <a:t>the</a:t>
            </a:r>
            <a:r>
              <a:rPr sz="1867" b="0" spc="-123" dirty="0">
                <a:latin typeface="Arial Black"/>
                <a:cs typeface="Arial Black"/>
              </a:rPr>
              <a:t> </a:t>
            </a:r>
            <a:r>
              <a:rPr sz="1867" b="0" spc="-76" dirty="0">
                <a:latin typeface="Arial Black"/>
                <a:cs typeface="Arial Black"/>
              </a:rPr>
              <a:t>client </a:t>
            </a:r>
            <a:r>
              <a:rPr sz="1867" b="0" spc="-87" dirty="0">
                <a:latin typeface="Arial Black"/>
                <a:cs typeface="Arial Black"/>
              </a:rPr>
              <a:t>feel</a:t>
            </a:r>
            <a:r>
              <a:rPr sz="1867" b="0" spc="-120" dirty="0">
                <a:latin typeface="Arial Black"/>
                <a:cs typeface="Arial Black"/>
              </a:rPr>
              <a:t> safe </a:t>
            </a:r>
            <a:r>
              <a:rPr sz="1867" b="0" spc="-67" dirty="0">
                <a:latin typeface="Arial Black"/>
                <a:cs typeface="Arial Black"/>
              </a:rPr>
              <a:t>and</a:t>
            </a:r>
            <a:r>
              <a:rPr sz="1867" b="0" spc="-120" dirty="0">
                <a:latin typeface="Arial Black"/>
                <a:cs typeface="Arial Black"/>
              </a:rPr>
              <a:t> </a:t>
            </a:r>
            <a:r>
              <a:rPr sz="1867" b="0" spc="-80" dirty="0">
                <a:latin typeface="Arial Black"/>
                <a:cs typeface="Arial Black"/>
              </a:rPr>
              <a:t>comfortable,</a:t>
            </a:r>
            <a:r>
              <a:rPr sz="1867" b="0" spc="-117" dirty="0">
                <a:latin typeface="Arial Black"/>
                <a:cs typeface="Arial Black"/>
              </a:rPr>
              <a:t> </a:t>
            </a:r>
            <a:r>
              <a:rPr sz="1867" b="0" spc="-33" dirty="0">
                <a:latin typeface="Arial Black"/>
                <a:cs typeface="Arial Black"/>
              </a:rPr>
              <a:t>complementing </a:t>
            </a:r>
            <a:r>
              <a:rPr sz="1867" b="0" spc="-60" dirty="0">
                <a:latin typeface="Arial Black"/>
                <a:cs typeface="Arial Black"/>
              </a:rPr>
              <a:t>the</a:t>
            </a:r>
            <a:r>
              <a:rPr sz="1867" b="0" spc="-123" dirty="0">
                <a:latin typeface="Arial Black"/>
                <a:cs typeface="Arial Black"/>
              </a:rPr>
              <a:t> </a:t>
            </a:r>
            <a:r>
              <a:rPr sz="1867" b="0" spc="-70" dirty="0">
                <a:latin typeface="Arial Black"/>
                <a:cs typeface="Arial Black"/>
              </a:rPr>
              <a:t>role</a:t>
            </a:r>
            <a:r>
              <a:rPr sz="1867" b="0" spc="-120" dirty="0">
                <a:latin typeface="Arial Black"/>
                <a:cs typeface="Arial Black"/>
              </a:rPr>
              <a:t> </a:t>
            </a:r>
            <a:r>
              <a:rPr sz="1867" b="0" spc="-53" dirty="0">
                <a:latin typeface="Arial Black"/>
                <a:cs typeface="Arial Black"/>
              </a:rPr>
              <a:t>of</a:t>
            </a:r>
            <a:r>
              <a:rPr sz="1867" b="0" spc="-123" dirty="0">
                <a:latin typeface="Arial Black"/>
                <a:cs typeface="Arial Black"/>
              </a:rPr>
              <a:t> </a:t>
            </a:r>
            <a:r>
              <a:rPr sz="1867" b="0" spc="-60" dirty="0">
                <a:latin typeface="Arial Black"/>
                <a:cs typeface="Arial Black"/>
              </a:rPr>
              <a:t>the</a:t>
            </a:r>
            <a:r>
              <a:rPr sz="1867" b="0" spc="-120" dirty="0">
                <a:latin typeface="Arial Black"/>
                <a:cs typeface="Arial Black"/>
              </a:rPr>
              <a:t> </a:t>
            </a:r>
            <a:r>
              <a:rPr sz="1867" b="0" spc="-90" dirty="0">
                <a:latin typeface="Arial Black"/>
                <a:cs typeface="Arial Black"/>
              </a:rPr>
              <a:t>healthcare</a:t>
            </a:r>
            <a:r>
              <a:rPr sz="1867" b="0" spc="-123" dirty="0">
                <a:latin typeface="Arial Black"/>
                <a:cs typeface="Arial Black"/>
              </a:rPr>
              <a:t> </a:t>
            </a:r>
            <a:r>
              <a:rPr sz="1867" b="0" spc="-97" dirty="0">
                <a:latin typeface="Arial Black"/>
                <a:cs typeface="Arial Black"/>
              </a:rPr>
              <a:t>professionals</a:t>
            </a:r>
            <a:r>
              <a:rPr sz="1867" b="0" spc="-120" dirty="0">
                <a:latin typeface="Arial Black"/>
                <a:cs typeface="Arial Black"/>
              </a:rPr>
              <a:t> </a:t>
            </a:r>
            <a:r>
              <a:rPr sz="1867" b="0" spc="-17" dirty="0">
                <a:latin typeface="Arial Black"/>
                <a:cs typeface="Arial Black"/>
              </a:rPr>
              <a:t>who </a:t>
            </a:r>
            <a:r>
              <a:rPr sz="1867" b="0" spc="-67" dirty="0">
                <a:latin typeface="Arial Black"/>
                <a:cs typeface="Arial Black"/>
              </a:rPr>
              <a:t>provide</a:t>
            </a:r>
            <a:r>
              <a:rPr sz="1867" b="0" spc="-120" dirty="0">
                <a:latin typeface="Arial Black"/>
                <a:cs typeface="Arial Black"/>
              </a:rPr>
              <a:t> </a:t>
            </a:r>
            <a:r>
              <a:rPr sz="1867" b="0" spc="-60" dirty="0">
                <a:latin typeface="Arial Black"/>
                <a:cs typeface="Arial Black"/>
              </a:rPr>
              <a:t>the</a:t>
            </a:r>
            <a:r>
              <a:rPr sz="1867" b="0" spc="-120" dirty="0">
                <a:latin typeface="Arial Black"/>
                <a:cs typeface="Arial Black"/>
              </a:rPr>
              <a:t> </a:t>
            </a:r>
            <a:r>
              <a:rPr sz="1867" b="0" spc="-107" dirty="0">
                <a:latin typeface="Arial Black"/>
                <a:cs typeface="Arial Black"/>
              </a:rPr>
              <a:t>client's</a:t>
            </a:r>
            <a:r>
              <a:rPr sz="1867" b="0" spc="-117" dirty="0">
                <a:latin typeface="Arial Black"/>
                <a:cs typeface="Arial Black"/>
              </a:rPr>
              <a:t> </a:t>
            </a:r>
            <a:r>
              <a:rPr sz="1867" b="0" spc="-107" dirty="0">
                <a:latin typeface="Arial Black"/>
                <a:cs typeface="Arial Black"/>
              </a:rPr>
              <a:t>medical</a:t>
            </a:r>
            <a:r>
              <a:rPr sz="1867" b="0" spc="-120" dirty="0">
                <a:latin typeface="Arial Black"/>
                <a:cs typeface="Arial Black"/>
              </a:rPr>
              <a:t> </a:t>
            </a:r>
            <a:r>
              <a:rPr sz="1867" b="0" spc="-127" dirty="0">
                <a:latin typeface="Arial Black"/>
                <a:cs typeface="Arial Black"/>
              </a:rPr>
              <a:t>care.</a:t>
            </a:r>
            <a:r>
              <a:rPr sz="1867" b="0" spc="-117" dirty="0">
                <a:latin typeface="Arial Black"/>
                <a:cs typeface="Arial Black"/>
              </a:rPr>
              <a:t> </a:t>
            </a:r>
            <a:r>
              <a:rPr sz="1867" b="0" spc="-90" dirty="0">
                <a:latin typeface="Arial Black"/>
                <a:cs typeface="Arial Black"/>
              </a:rPr>
              <a:t>Unlike</a:t>
            </a:r>
            <a:r>
              <a:rPr sz="1867" b="0" spc="-120" dirty="0">
                <a:latin typeface="Arial Black"/>
                <a:cs typeface="Arial Black"/>
              </a:rPr>
              <a:t> </a:t>
            </a:r>
            <a:r>
              <a:rPr sz="1867" b="0" spc="-33" dirty="0">
                <a:latin typeface="Arial Black"/>
                <a:cs typeface="Arial Black"/>
              </a:rPr>
              <a:t>a </a:t>
            </a:r>
            <a:r>
              <a:rPr sz="1867" b="0" spc="-107" dirty="0">
                <a:latin typeface="Arial Black"/>
                <a:cs typeface="Arial Black"/>
              </a:rPr>
              <a:t>physician,</a:t>
            </a:r>
            <a:r>
              <a:rPr sz="1867" b="0" spc="-120" dirty="0">
                <a:latin typeface="Arial Black"/>
                <a:cs typeface="Arial Black"/>
              </a:rPr>
              <a:t> </a:t>
            </a:r>
            <a:r>
              <a:rPr sz="1867" b="0" u="heavy" spc="-73" dirty="0">
                <a:uFill>
                  <a:solidFill>
                    <a:srgbClr val="000000"/>
                  </a:solidFill>
                </a:uFill>
                <a:latin typeface="Arial Black"/>
                <a:cs typeface="Arial Black"/>
                <a:hlinkClick r:id="rId2"/>
              </a:rPr>
              <a:t>midwife</a:t>
            </a:r>
            <a:r>
              <a:rPr sz="1867" b="0" u="none" spc="-73" dirty="0">
                <a:latin typeface="Arial Black"/>
                <a:cs typeface="Arial Black"/>
              </a:rPr>
              <a:t>,</a:t>
            </a:r>
            <a:r>
              <a:rPr sz="1867" b="0" u="none" spc="-120" dirty="0">
                <a:latin typeface="Arial Black"/>
                <a:cs typeface="Arial Black"/>
              </a:rPr>
              <a:t> </a:t>
            </a:r>
            <a:r>
              <a:rPr sz="1867" b="0" u="none" spc="-37" dirty="0">
                <a:latin typeface="Arial Black"/>
                <a:cs typeface="Arial Black"/>
              </a:rPr>
              <a:t>or</a:t>
            </a:r>
            <a:r>
              <a:rPr sz="1867" b="0" u="none" spc="-120" dirty="0">
                <a:latin typeface="Arial Black"/>
                <a:cs typeface="Arial Black"/>
              </a:rPr>
              <a:t> </a:t>
            </a:r>
            <a:r>
              <a:rPr sz="1867" b="0" u="none" spc="-76" dirty="0">
                <a:latin typeface="Arial Black"/>
                <a:cs typeface="Arial Black"/>
              </a:rPr>
              <a:t>nurse,</a:t>
            </a:r>
            <a:r>
              <a:rPr sz="1867" b="0" u="none" spc="-120" dirty="0">
                <a:latin typeface="Arial Black"/>
                <a:cs typeface="Arial Black"/>
              </a:rPr>
              <a:t> </a:t>
            </a:r>
            <a:r>
              <a:rPr sz="1867" b="0" u="none" spc="-117" dirty="0">
                <a:latin typeface="Arial Black"/>
                <a:cs typeface="Arial Black"/>
              </a:rPr>
              <a:t>a</a:t>
            </a:r>
            <a:r>
              <a:rPr sz="1867" b="0" u="none" spc="-120" dirty="0">
                <a:latin typeface="Arial Black"/>
                <a:cs typeface="Arial Black"/>
              </a:rPr>
              <a:t> </a:t>
            </a:r>
            <a:r>
              <a:rPr sz="1867" b="0" u="none" spc="-73" dirty="0">
                <a:latin typeface="Arial Black"/>
                <a:cs typeface="Arial Black"/>
              </a:rPr>
              <a:t>doula</a:t>
            </a:r>
            <a:r>
              <a:rPr sz="1867" b="0" u="none" spc="-120" dirty="0">
                <a:latin typeface="Arial Black"/>
                <a:cs typeface="Arial Black"/>
              </a:rPr>
              <a:t> </a:t>
            </a:r>
            <a:r>
              <a:rPr sz="1867" b="0" u="none" spc="-13" dirty="0">
                <a:latin typeface="Arial Black"/>
                <a:cs typeface="Arial Black"/>
              </a:rPr>
              <a:t>cannot </a:t>
            </a:r>
            <a:r>
              <a:rPr sz="1867" b="0" u="none" spc="-67" dirty="0">
                <a:latin typeface="Arial Black"/>
                <a:cs typeface="Arial Black"/>
              </a:rPr>
              <a:t>administer</a:t>
            </a:r>
            <a:r>
              <a:rPr sz="1867" b="0" u="none" spc="-127" dirty="0">
                <a:latin typeface="Arial Black"/>
                <a:cs typeface="Arial Black"/>
              </a:rPr>
              <a:t> </a:t>
            </a:r>
            <a:r>
              <a:rPr sz="1867" b="0" u="none" spc="-93" dirty="0">
                <a:latin typeface="Arial Black"/>
                <a:cs typeface="Arial Black"/>
              </a:rPr>
              <a:t>medication</a:t>
            </a:r>
            <a:r>
              <a:rPr sz="1867" b="0" u="none" spc="-123" dirty="0">
                <a:latin typeface="Arial Black"/>
                <a:cs typeface="Arial Black"/>
              </a:rPr>
              <a:t> </a:t>
            </a:r>
            <a:r>
              <a:rPr sz="1867" b="0" u="none" spc="-37" dirty="0">
                <a:latin typeface="Arial Black"/>
                <a:cs typeface="Arial Black"/>
              </a:rPr>
              <a:t>or</a:t>
            </a:r>
            <a:r>
              <a:rPr sz="1867" b="0" u="none" spc="-123" dirty="0">
                <a:latin typeface="Arial Black"/>
                <a:cs typeface="Arial Black"/>
              </a:rPr>
              <a:t> </a:t>
            </a:r>
            <a:r>
              <a:rPr sz="1867" b="0" u="none" spc="-43" dirty="0">
                <a:latin typeface="Arial Black"/>
                <a:cs typeface="Arial Black"/>
              </a:rPr>
              <a:t>other</a:t>
            </a:r>
            <a:r>
              <a:rPr sz="1867" b="0" u="none" spc="-127" dirty="0">
                <a:latin typeface="Arial Black"/>
                <a:cs typeface="Arial Black"/>
              </a:rPr>
              <a:t> </a:t>
            </a:r>
            <a:r>
              <a:rPr sz="1867" b="0" u="none" spc="-7" dirty="0">
                <a:latin typeface="Arial Black"/>
                <a:cs typeface="Arial Black"/>
              </a:rPr>
              <a:t>medical </a:t>
            </a:r>
            <a:r>
              <a:rPr sz="1867" b="0" u="none" spc="-60" dirty="0">
                <a:latin typeface="Arial Black"/>
                <a:cs typeface="Arial Black"/>
              </a:rPr>
              <a:t>treatment</a:t>
            </a:r>
            <a:r>
              <a:rPr sz="1867" b="0" u="none" spc="-117" dirty="0">
                <a:latin typeface="Arial Black"/>
                <a:cs typeface="Arial Black"/>
              </a:rPr>
              <a:t> </a:t>
            </a:r>
            <a:r>
              <a:rPr sz="1867" b="0" u="none" spc="-37" dirty="0">
                <a:latin typeface="Arial Black"/>
                <a:cs typeface="Arial Black"/>
              </a:rPr>
              <a:t>or</a:t>
            </a:r>
            <a:r>
              <a:rPr sz="1867" b="0" u="none" spc="-113" dirty="0">
                <a:latin typeface="Arial Black"/>
                <a:cs typeface="Arial Black"/>
              </a:rPr>
              <a:t> </a:t>
            </a:r>
            <a:r>
              <a:rPr sz="1867" b="0" u="none" spc="-123" dirty="0">
                <a:latin typeface="Arial Black"/>
                <a:cs typeface="Arial Black"/>
              </a:rPr>
              <a:t>give</a:t>
            </a:r>
            <a:r>
              <a:rPr sz="1867" b="0" u="none" spc="-113" dirty="0">
                <a:latin typeface="Arial Black"/>
                <a:cs typeface="Arial Black"/>
              </a:rPr>
              <a:t> </a:t>
            </a:r>
            <a:r>
              <a:rPr sz="1867" b="0" u="none" spc="-107" dirty="0">
                <a:latin typeface="Arial Black"/>
                <a:cs typeface="Arial Black"/>
              </a:rPr>
              <a:t>medical</a:t>
            </a:r>
            <a:r>
              <a:rPr sz="1867" b="0" u="none" spc="-117" dirty="0">
                <a:latin typeface="Arial Black"/>
                <a:cs typeface="Arial Black"/>
              </a:rPr>
              <a:t> </a:t>
            </a:r>
            <a:r>
              <a:rPr sz="1867" b="0" u="none" spc="-7" dirty="0">
                <a:latin typeface="Arial Black"/>
                <a:cs typeface="Arial Black"/>
              </a:rPr>
              <a:t>advice.</a:t>
            </a:r>
            <a:endParaRPr sz="1867">
              <a:latin typeface="Arial Black"/>
              <a:cs typeface="Arial Black"/>
            </a:endParaRPr>
          </a:p>
        </p:txBody>
      </p:sp>
      <p:pic>
        <p:nvPicPr>
          <p:cNvPr id="7" name="object 7"/>
          <p:cNvPicPr/>
          <p:nvPr/>
        </p:nvPicPr>
        <p:blipFill>
          <a:blip r:embed="rId3"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8" name="object 8"/>
          <p:cNvPicPr/>
          <p:nvPr/>
        </p:nvPicPr>
        <p:blipFill>
          <a:blip r:embed="rId4"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9" name="object 9"/>
          <p:cNvPicPr/>
          <p:nvPr/>
        </p:nvPicPr>
        <p:blipFill>
          <a:blip r:embed="rId4"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10" name="object 10"/>
          <p:cNvPicPr/>
          <p:nvPr/>
        </p:nvPicPr>
        <p:blipFill>
          <a:blip r:embed="rId4"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11" name="object 11"/>
          <p:cNvPicPr/>
          <p:nvPr/>
        </p:nvPicPr>
        <p:blipFill>
          <a:blip r:embed="rId5"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85800" y="685800"/>
            <a:ext cx="4851823" cy="5486400"/>
            <a:chOff x="1028700" y="1028700"/>
            <a:chExt cx="7277734" cy="82296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28700" y="1028700"/>
              <a:ext cx="7277099" cy="4114799"/>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28700" y="5143500"/>
              <a:ext cx="7277326" cy="4114799"/>
            </a:xfrm>
            <a:prstGeom prst="rect">
              <a:avLst/>
            </a:prstGeom>
          </p:spPr>
        </p:pic>
      </p:grpSp>
      <p:sp>
        <p:nvSpPr>
          <p:cNvPr id="5" name="object 5"/>
          <p:cNvSpPr txBox="1">
            <a:spLocks noGrp="1"/>
          </p:cNvSpPr>
          <p:nvPr>
            <p:ph type="title"/>
          </p:nvPr>
        </p:nvSpPr>
        <p:spPr>
          <a:xfrm>
            <a:off x="6367580" y="636736"/>
            <a:ext cx="2611967" cy="829733"/>
          </a:xfrm>
          <a:prstGeom prst="rect">
            <a:avLst/>
          </a:prstGeom>
        </p:spPr>
        <p:txBody>
          <a:bodyPr vert="horz" wrap="square" lIns="0" tIns="8467" rIns="0" bIns="0" rtlCol="0">
            <a:spAutoFit/>
          </a:bodyPr>
          <a:lstStyle/>
          <a:p>
            <a:pPr marL="8467">
              <a:lnSpc>
                <a:spcPct val="100000"/>
              </a:lnSpc>
              <a:spcBef>
                <a:spcPts val="67"/>
              </a:spcBef>
            </a:pPr>
            <a:r>
              <a:rPr sz="5334" spc="-13" dirty="0">
                <a:solidFill>
                  <a:srgbClr val="000000"/>
                </a:solidFill>
              </a:rPr>
              <a:t>Training</a:t>
            </a:r>
            <a:endParaRPr sz="5334"/>
          </a:p>
        </p:txBody>
      </p:sp>
      <p:sp>
        <p:nvSpPr>
          <p:cNvPr id="6" name="object 6"/>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9" name="object 9"/>
          <p:cNvPicPr/>
          <p:nvPr/>
        </p:nvPicPr>
        <p:blipFill>
          <a:blip r:embed="rId5"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10" name="object 10"/>
          <p:cNvPicPr/>
          <p:nvPr/>
        </p:nvPicPr>
        <p:blipFill>
          <a:blip r:embed="rId5"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11" name="object 11"/>
          <p:cNvPicPr/>
          <p:nvPr/>
        </p:nvPicPr>
        <p:blipFill>
          <a:blip r:embed="rId6"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pic>
        <p:nvPicPr>
          <p:cNvPr id="12" name="object 12"/>
          <p:cNvPicPr/>
          <p:nvPr/>
        </p:nvPicPr>
        <p:blipFill>
          <a:blip r:embed="rId7" cstate="email">
            <a:extLst>
              <a:ext uri="{28A0092B-C50C-407E-A947-70E740481C1C}">
                <a14:useLocalDpi xmlns:a14="http://schemas.microsoft.com/office/drawing/2010/main"/>
              </a:ext>
            </a:extLst>
          </a:blip>
          <a:stretch>
            <a:fillRect/>
          </a:stretch>
        </p:blipFill>
        <p:spPr>
          <a:xfrm>
            <a:off x="11243017" y="5944106"/>
            <a:ext cx="838199" cy="838199"/>
          </a:xfrm>
          <a:prstGeom prst="rect">
            <a:avLst/>
          </a:prstGeom>
        </p:spPr>
      </p:pic>
      <p:sp>
        <p:nvSpPr>
          <p:cNvPr id="13" name="object 13"/>
          <p:cNvSpPr txBox="1"/>
          <p:nvPr/>
        </p:nvSpPr>
        <p:spPr>
          <a:xfrm>
            <a:off x="6367580" y="2016669"/>
            <a:ext cx="4439073" cy="3875193"/>
          </a:xfrm>
          <a:prstGeom prst="rect">
            <a:avLst/>
          </a:prstGeom>
        </p:spPr>
        <p:txBody>
          <a:bodyPr vert="horz" wrap="square" lIns="0" tIns="8043" rIns="0" bIns="0" rtlCol="0">
            <a:spAutoFit/>
          </a:bodyPr>
          <a:lstStyle/>
          <a:p>
            <a:pPr marL="8467" marR="3387">
              <a:lnSpc>
                <a:spcPct val="107600"/>
              </a:lnSpc>
              <a:spcBef>
                <a:spcPts val="63"/>
              </a:spcBef>
            </a:pPr>
            <a:r>
              <a:rPr sz="1967" spc="-83" dirty="0">
                <a:latin typeface="Arial Black"/>
                <a:cs typeface="Arial Black"/>
              </a:rPr>
              <a:t>Community-based</a:t>
            </a:r>
            <a:r>
              <a:rPr sz="1967" spc="-43" dirty="0">
                <a:latin typeface="Arial Black"/>
                <a:cs typeface="Arial Black"/>
              </a:rPr>
              <a:t> </a:t>
            </a:r>
            <a:r>
              <a:rPr sz="1967" spc="-7" dirty="0">
                <a:latin typeface="Arial Black"/>
                <a:cs typeface="Arial Black"/>
              </a:rPr>
              <a:t>doulas, </a:t>
            </a:r>
            <a:r>
              <a:rPr sz="1967" spc="-70" dirty="0">
                <a:latin typeface="Arial Black"/>
                <a:cs typeface="Arial Black"/>
              </a:rPr>
              <a:t>integrated</a:t>
            </a:r>
            <a:r>
              <a:rPr sz="1967" spc="-123" dirty="0">
                <a:latin typeface="Arial Black"/>
                <a:cs typeface="Arial Black"/>
              </a:rPr>
              <a:t> </a:t>
            </a:r>
            <a:r>
              <a:rPr sz="1967" spc="-57" dirty="0">
                <a:latin typeface="Arial Black"/>
                <a:cs typeface="Arial Black"/>
              </a:rPr>
              <a:t>within</a:t>
            </a:r>
            <a:r>
              <a:rPr sz="1967" spc="-120" dirty="0">
                <a:latin typeface="Arial Black"/>
                <a:cs typeface="Arial Black"/>
              </a:rPr>
              <a:t> </a:t>
            </a:r>
            <a:r>
              <a:rPr sz="1967" spc="-20" dirty="0">
                <a:latin typeface="Arial Black"/>
                <a:cs typeface="Arial Black"/>
              </a:rPr>
              <a:t>communities </a:t>
            </a:r>
            <a:r>
              <a:rPr sz="1967" spc="-63" dirty="0">
                <a:latin typeface="Arial Black"/>
                <a:cs typeface="Arial Black"/>
              </a:rPr>
              <a:t>they</a:t>
            </a:r>
            <a:r>
              <a:rPr sz="1967" spc="-127" dirty="0">
                <a:latin typeface="Arial Black"/>
                <a:cs typeface="Arial Black"/>
              </a:rPr>
              <a:t> </a:t>
            </a:r>
            <a:r>
              <a:rPr sz="1967" spc="-110" dirty="0">
                <a:latin typeface="Arial Black"/>
                <a:cs typeface="Arial Black"/>
              </a:rPr>
              <a:t>serve,</a:t>
            </a:r>
            <a:r>
              <a:rPr sz="1967" spc="-127" dirty="0">
                <a:latin typeface="Arial Black"/>
                <a:cs typeface="Arial Black"/>
              </a:rPr>
              <a:t> </a:t>
            </a:r>
            <a:r>
              <a:rPr sz="1967" spc="-150" dirty="0">
                <a:latin typeface="Arial Black"/>
                <a:cs typeface="Arial Black"/>
              </a:rPr>
              <a:t>can</a:t>
            </a:r>
            <a:r>
              <a:rPr sz="1967" spc="-127" dirty="0">
                <a:latin typeface="Arial Black"/>
                <a:cs typeface="Arial Black"/>
              </a:rPr>
              <a:t> </a:t>
            </a:r>
            <a:r>
              <a:rPr sz="1967" spc="-70" dirty="0">
                <a:latin typeface="Arial Black"/>
                <a:cs typeface="Arial Black"/>
              </a:rPr>
              <a:t>provide</a:t>
            </a:r>
            <a:r>
              <a:rPr sz="1967" spc="-127" dirty="0">
                <a:latin typeface="Arial Black"/>
                <a:cs typeface="Arial Black"/>
              </a:rPr>
              <a:t> </a:t>
            </a:r>
            <a:r>
              <a:rPr sz="1967" spc="-7" dirty="0">
                <a:latin typeface="Arial Black"/>
                <a:cs typeface="Arial Black"/>
              </a:rPr>
              <a:t>culturally </a:t>
            </a:r>
            <a:r>
              <a:rPr sz="1967" spc="-70" dirty="0">
                <a:latin typeface="Arial Black"/>
                <a:cs typeface="Arial Black"/>
              </a:rPr>
              <a:t>and</a:t>
            </a:r>
            <a:r>
              <a:rPr sz="1967" spc="-110" dirty="0">
                <a:latin typeface="Arial Black"/>
                <a:cs typeface="Arial Black"/>
              </a:rPr>
              <a:t> </a:t>
            </a:r>
            <a:r>
              <a:rPr sz="1967" spc="-93" dirty="0">
                <a:latin typeface="Arial Black"/>
                <a:cs typeface="Arial Black"/>
              </a:rPr>
              <a:t>linguistically</a:t>
            </a:r>
            <a:r>
              <a:rPr sz="1967" spc="-107" dirty="0">
                <a:latin typeface="Arial Black"/>
                <a:cs typeface="Arial Black"/>
              </a:rPr>
              <a:t> </a:t>
            </a:r>
            <a:r>
              <a:rPr sz="1967" spc="-87" dirty="0">
                <a:latin typeface="Arial Black"/>
                <a:cs typeface="Arial Black"/>
              </a:rPr>
              <a:t>congruent</a:t>
            </a:r>
            <a:r>
              <a:rPr sz="1967" spc="-107" dirty="0">
                <a:latin typeface="Arial Black"/>
                <a:cs typeface="Arial Black"/>
              </a:rPr>
              <a:t> </a:t>
            </a:r>
            <a:r>
              <a:rPr sz="1967" spc="-13" dirty="0">
                <a:latin typeface="Arial Black"/>
                <a:cs typeface="Arial Black"/>
              </a:rPr>
              <a:t>care </a:t>
            </a:r>
            <a:r>
              <a:rPr sz="1967" spc="-50" dirty="0">
                <a:latin typeface="Arial Black"/>
                <a:cs typeface="Arial Black"/>
              </a:rPr>
              <a:t>that</a:t>
            </a:r>
            <a:r>
              <a:rPr sz="1967" spc="-123" dirty="0">
                <a:latin typeface="Arial Black"/>
                <a:cs typeface="Arial Black"/>
              </a:rPr>
              <a:t> </a:t>
            </a:r>
            <a:r>
              <a:rPr sz="1967" spc="-83" dirty="0">
                <a:latin typeface="Arial Black"/>
                <a:cs typeface="Arial Black"/>
              </a:rPr>
              <a:t>supports</a:t>
            </a:r>
            <a:r>
              <a:rPr sz="1967" spc="-123" dirty="0">
                <a:latin typeface="Arial Black"/>
                <a:cs typeface="Arial Black"/>
              </a:rPr>
              <a:t> </a:t>
            </a:r>
            <a:r>
              <a:rPr sz="1967" spc="-23" dirty="0">
                <a:latin typeface="Arial Black"/>
                <a:cs typeface="Arial Black"/>
              </a:rPr>
              <a:t>communication </a:t>
            </a:r>
            <a:r>
              <a:rPr sz="1967" spc="-93" dirty="0">
                <a:latin typeface="Arial Black"/>
                <a:cs typeface="Arial Black"/>
              </a:rPr>
              <a:t>between</a:t>
            </a:r>
            <a:r>
              <a:rPr sz="1967" spc="-130" dirty="0">
                <a:latin typeface="Arial Black"/>
                <a:cs typeface="Arial Black"/>
              </a:rPr>
              <a:t> </a:t>
            </a:r>
            <a:r>
              <a:rPr sz="1967" spc="-63" dirty="0">
                <a:latin typeface="Arial Black"/>
                <a:cs typeface="Arial Black"/>
              </a:rPr>
              <a:t>mothers</a:t>
            </a:r>
            <a:r>
              <a:rPr sz="1967" spc="-127" dirty="0">
                <a:latin typeface="Arial Black"/>
                <a:cs typeface="Arial Black"/>
              </a:rPr>
              <a:t> </a:t>
            </a:r>
            <a:r>
              <a:rPr sz="1967" spc="-70" dirty="0">
                <a:latin typeface="Arial Black"/>
                <a:cs typeface="Arial Black"/>
              </a:rPr>
              <a:t>and</a:t>
            </a:r>
            <a:r>
              <a:rPr sz="1967" spc="-127" dirty="0">
                <a:latin typeface="Arial Black"/>
                <a:cs typeface="Arial Black"/>
              </a:rPr>
              <a:t> </a:t>
            </a:r>
            <a:r>
              <a:rPr sz="1967" spc="-47" dirty="0">
                <a:latin typeface="Arial Black"/>
                <a:cs typeface="Arial Black"/>
              </a:rPr>
              <a:t>their</a:t>
            </a:r>
            <a:r>
              <a:rPr sz="1967" spc="-127" dirty="0">
                <a:latin typeface="Arial Black"/>
                <a:cs typeface="Arial Black"/>
              </a:rPr>
              <a:t> </a:t>
            </a:r>
            <a:r>
              <a:rPr sz="1967" spc="-7" dirty="0">
                <a:latin typeface="Arial Black"/>
                <a:cs typeface="Arial Black"/>
              </a:rPr>
              <a:t>health </a:t>
            </a:r>
            <a:r>
              <a:rPr sz="1967" spc="-136" dirty="0">
                <a:latin typeface="Arial Black"/>
                <a:cs typeface="Arial Black"/>
              </a:rPr>
              <a:t>care</a:t>
            </a:r>
            <a:r>
              <a:rPr sz="1967" spc="-123" dirty="0">
                <a:latin typeface="Arial Black"/>
                <a:cs typeface="Arial Black"/>
              </a:rPr>
              <a:t> </a:t>
            </a:r>
            <a:r>
              <a:rPr sz="1967" spc="-80" dirty="0">
                <a:latin typeface="Arial Black"/>
                <a:cs typeface="Arial Black"/>
              </a:rPr>
              <a:t>team.</a:t>
            </a:r>
            <a:r>
              <a:rPr sz="1967" spc="-123" dirty="0">
                <a:latin typeface="Arial Black"/>
                <a:cs typeface="Arial Black"/>
              </a:rPr>
              <a:t> </a:t>
            </a:r>
            <a:r>
              <a:rPr sz="1967" spc="-143" dirty="0">
                <a:latin typeface="Arial Black"/>
                <a:cs typeface="Arial Black"/>
              </a:rPr>
              <a:t>This</a:t>
            </a:r>
            <a:r>
              <a:rPr sz="1967" spc="-120" dirty="0">
                <a:latin typeface="Arial Black"/>
                <a:cs typeface="Arial Black"/>
              </a:rPr>
              <a:t> </a:t>
            </a:r>
            <a:r>
              <a:rPr sz="1967" spc="-143" dirty="0">
                <a:latin typeface="Arial Black"/>
                <a:cs typeface="Arial Black"/>
              </a:rPr>
              <a:t>is</a:t>
            </a:r>
            <a:r>
              <a:rPr sz="1967" spc="-123" dirty="0">
                <a:latin typeface="Arial Black"/>
                <a:cs typeface="Arial Black"/>
              </a:rPr>
              <a:t> a </a:t>
            </a:r>
            <a:r>
              <a:rPr sz="1967" spc="-7" dirty="0">
                <a:latin typeface="Arial Black"/>
                <a:cs typeface="Arial Black"/>
              </a:rPr>
              <a:t>factor </a:t>
            </a:r>
            <a:r>
              <a:rPr sz="1967" spc="-63" dirty="0">
                <a:latin typeface="Arial Black"/>
                <a:cs typeface="Arial Black"/>
              </a:rPr>
              <a:t>identified</a:t>
            </a:r>
            <a:r>
              <a:rPr sz="1967" spc="-123" dirty="0">
                <a:latin typeface="Arial Black"/>
                <a:cs typeface="Arial Black"/>
              </a:rPr>
              <a:t> </a:t>
            </a:r>
            <a:r>
              <a:rPr sz="1967" spc="-67" dirty="0">
                <a:latin typeface="Arial Black"/>
                <a:cs typeface="Arial Black"/>
              </a:rPr>
              <a:t>by</a:t>
            </a:r>
            <a:r>
              <a:rPr sz="1967" spc="-120" dirty="0">
                <a:latin typeface="Arial Black"/>
                <a:cs typeface="Arial Black"/>
              </a:rPr>
              <a:t> </a:t>
            </a:r>
            <a:r>
              <a:rPr sz="1967" spc="-153" dirty="0">
                <a:latin typeface="Arial Black"/>
                <a:cs typeface="Arial Black"/>
              </a:rPr>
              <a:t>Black</a:t>
            </a:r>
            <a:r>
              <a:rPr sz="1967" spc="-120" dirty="0">
                <a:latin typeface="Arial Black"/>
                <a:cs typeface="Arial Black"/>
              </a:rPr>
              <a:t> </a:t>
            </a:r>
            <a:r>
              <a:rPr sz="1967" spc="-97" dirty="0">
                <a:latin typeface="Arial Black"/>
                <a:cs typeface="Arial Black"/>
              </a:rPr>
              <a:t>women's</a:t>
            </a:r>
            <a:r>
              <a:rPr sz="1967" spc="-123" dirty="0">
                <a:latin typeface="Arial Black"/>
                <a:cs typeface="Arial Black"/>
              </a:rPr>
              <a:t> </a:t>
            </a:r>
            <a:r>
              <a:rPr sz="1967" spc="-37" dirty="0">
                <a:latin typeface="Arial Black"/>
                <a:cs typeface="Arial Black"/>
              </a:rPr>
              <a:t>health </a:t>
            </a:r>
            <a:r>
              <a:rPr sz="1967" spc="-80" dirty="0">
                <a:latin typeface="Arial Black"/>
                <a:cs typeface="Arial Black"/>
              </a:rPr>
              <a:t>organizations</a:t>
            </a:r>
            <a:r>
              <a:rPr sz="1967" spc="-127" dirty="0">
                <a:latin typeface="Arial Black"/>
                <a:cs typeface="Arial Black"/>
              </a:rPr>
              <a:t> </a:t>
            </a:r>
            <a:r>
              <a:rPr sz="1967" spc="-167" dirty="0">
                <a:latin typeface="Arial Black"/>
                <a:cs typeface="Arial Black"/>
              </a:rPr>
              <a:t>as</a:t>
            </a:r>
            <a:r>
              <a:rPr sz="1967" spc="-127" dirty="0">
                <a:latin typeface="Arial Black"/>
                <a:cs typeface="Arial Black"/>
              </a:rPr>
              <a:t> </a:t>
            </a:r>
            <a:r>
              <a:rPr sz="1967" spc="-70" dirty="0">
                <a:latin typeface="Arial Black"/>
                <a:cs typeface="Arial Black"/>
              </a:rPr>
              <a:t>an</a:t>
            </a:r>
            <a:r>
              <a:rPr sz="1967" spc="-127" dirty="0">
                <a:latin typeface="Arial Black"/>
                <a:cs typeface="Arial Black"/>
              </a:rPr>
              <a:t> </a:t>
            </a:r>
            <a:r>
              <a:rPr sz="1967" spc="-30" dirty="0">
                <a:latin typeface="Arial Black"/>
                <a:cs typeface="Arial Black"/>
              </a:rPr>
              <a:t>essential </a:t>
            </a:r>
            <a:r>
              <a:rPr sz="1967" spc="-140" dirty="0">
                <a:latin typeface="Arial Black"/>
                <a:cs typeface="Arial Black"/>
              </a:rPr>
              <a:t>aspect</a:t>
            </a:r>
            <a:r>
              <a:rPr sz="1967" spc="-123" dirty="0">
                <a:latin typeface="Arial Black"/>
                <a:cs typeface="Arial Black"/>
              </a:rPr>
              <a:t> </a:t>
            </a:r>
            <a:r>
              <a:rPr sz="1967" spc="-47" dirty="0">
                <a:latin typeface="Arial Black"/>
                <a:cs typeface="Arial Black"/>
              </a:rPr>
              <a:t>of</a:t>
            </a:r>
            <a:r>
              <a:rPr sz="1967" spc="-120" dirty="0">
                <a:latin typeface="Arial Black"/>
                <a:cs typeface="Arial Black"/>
              </a:rPr>
              <a:t> </a:t>
            </a:r>
            <a:r>
              <a:rPr sz="1967" spc="-63" dirty="0">
                <a:latin typeface="Arial Black"/>
                <a:cs typeface="Arial Black"/>
              </a:rPr>
              <a:t>the</a:t>
            </a:r>
            <a:r>
              <a:rPr sz="1967" spc="-120" dirty="0">
                <a:latin typeface="Arial Black"/>
                <a:cs typeface="Arial Black"/>
              </a:rPr>
              <a:t> </a:t>
            </a:r>
            <a:r>
              <a:rPr sz="1967" spc="-43" dirty="0">
                <a:latin typeface="Arial Black"/>
                <a:cs typeface="Arial Black"/>
              </a:rPr>
              <a:t>birthing</a:t>
            </a:r>
            <a:r>
              <a:rPr sz="1967" spc="-123" dirty="0">
                <a:latin typeface="Arial Black"/>
                <a:cs typeface="Arial Black"/>
              </a:rPr>
              <a:t> </a:t>
            </a:r>
            <a:r>
              <a:rPr sz="1967" spc="-43" dirty="0">
                <a:latin typeface="Arial Black"/>
                <a:cs typeface="Arial Black"/>
              </a:rPr>
              <a:t>experience</a:t>
            </a:r>
            <a:endParaRPr sz="1967">
              <a:latin typeface="Arial Black"/>
              <a:cs typeface="Arial Black"/>
            </a:endParaRPr>
          </a:p>
          <a:p>
            <a:pPr>
              <a:lnSpc>
                <a:spcPct val="100000"/>
              </a:lnSpc>
              <a:spcBef>
                <a:spcPts val="363"/>
              </a:spcBef>
            </a:pPr>
            <a:endParaRPr sz="1967">
              <a:latin typeface="Arial Black"/>
              <a:cs typeface="Arial Black"/>
            </a:endParaRPr>
          </a:p>
          <a:p>
            <a:pPr marL="8467">
              <a:lnSpc>
                <a:spcPct val="100000"/>
              </a:lnSpc>
            </a:pPr>
            <a:r>
              <a:rPr sz="1533" spc="-117" dirty="0">
                <a:latin typeface="Arial Black"/>
                <a:cs typeface="Arial Black"/>
                <a:hlinkClick r:id="rId8"/>
              </a:rPr>
              <a:t>The</a:t>
            </a:r>
            <a:r>
              <a:rPr sz="1533" spc="-103" dirty="0">
                <a:latin typeface="Arial Black"/>
                <a:cs typeface="Arial Black"/>
                <a:hlinkClick r:id="rId8"/>
              </a:rPr>
              <a:t> </a:t>
            </a:r>
            <a:r>
              <a:rPr sz="1533" spc="-60" dirty="0">
                <a:latin typeface="Arial Black"/>
                <a:cs typeface="Arial Black"/>
                <a:hlinkClick r:id="rId8"/>
              </a:rPr>
              <a:t>Doula</a:t>
            </a:r>
            <a:r>
              <a:rPr sz="1533" spc="-103" dirty="0">
                <a:latin typeface="Arial Black"/>
                <a:cs typeface="Arial Black"/>
                <a:hlinkClick r:id="rId8"/>
              </a:rPr>
              <a:t> </a:t>
            </a:r>
            <a:r>
              <a:rPr sz="1533" spc="-17" dirty="0">
                <a:latin typeface="Arial Black"/>
                <a:cs typeface="Arial Black"/>
                <a:hlinkClick r:id="rId8"/>
              </a:rPr>
              <a:t>L</a:t>
            </a:r>
            <a:r>
              <a:rPr sz="1533" spc="-17" dirty="0">
                <a:latin typeface="Kristen ITC"/>
                <a:cs typeface="Kristen ITC"/>
              </a:rPr>
              <a:t>ab</a:t>
            </a:r>
            <a:endParaRPr sz="1533">
              <a:latin typeface="Kristen ITC"/>
              <a:cs typeface="Kristen ITC"/>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34475" y="205799"/>
            <a:ext cx="4273550" cy="5929207"/>
          </a:xfrm>
          <a:custGeom>
            <a:avLst/>
            <a:gdLst/>
            <a:ahLst/>
            <a:cxnLst/>
            <a:rect l="l" t="t" r="r" b="b"/>
            <a:pathLst>
              <a:path w="6410325" h="8893810">
                <a:moveTo>
                  <a:pt x="673760" y="204470"/>
                </a:moveTo>
                <a:lnTo>
                  <a:pt x="669480" y="180340"/>
                </a:lnTo>
                <a:lnTo>
                  <a:pt x="663994" y="170154"/>
                </a:lnTo>
                <a:lnTo>
                  <a:pt x="663994" y="199390"/>
                </a:lnTo>
                <a:lnTo>
                  <a:pt x="662432" y="218440"/>
                </a:lnTo>
                <a:lnTo>
                  <a:pt x="654443" y="237490"/>
                </a:lnTo>
                <a:lnTo>
                  <a:pt x="629246" y="264160"/>
                </a:lnTo>
                <a:lnTo>
                  <a:pt x="592683" y="284365"/>
                </a:lnTo>
                <a:lnTo>
                  <a:pt x="592683" y="295910"/>
                </a:lnTo>
                <a:lnTo>
                  <a:pt x="577773" y="311150"/>
                </a:lnTo>
                <a:lnTo>
                  <a:pt x="560641" y="325120"/>
                </a:lnTo>
                <a:lnTo>
                  <a:pt x="541121" y="340360"/>
                </a:lnTo>
                <a:lnTo>
                  <a:pt x="519049" y="354330"/>
                </a:lnTo>
                <a:lnTo>
                  <a:pt x="517525" y="351790"/>
                </a:lnTo>
                <a:lnTo>
                  <a:pt x="515467" y="349250"/>
                </a:lnTo>
                <a:lnTo>
                  <a:pt x="513130" y="347980"/>
                </a:lnTo>
                <a:lnTo>
                  <a:pt x="514654" y="345440"/>
                </a:lnTo>
                <a:lnTo>
                  <a:pt x="515454" y="341630"/>
                </a:lnTo>
                <a:lnTo>
                  <a:pt x="515264" y="337820"/>
                </a:lnTo>
                <a:lnTo>
                  <a:pt x="513448" y="331470"/>
                </a:lnTo>
                <a:lnTo>
                  <a:pt x="512610" y="330466"/>
                </a:lnTo>
                <a:lnTo>
                  <a:pt x="512610" y="369570"/>
                </a:lnTo>
                <a:lnTo>
                  <a:pt x="505841" y="373380"/>
                </a:lnTo>
                <a:lnTo>
                  <a:pt x="493445" y="375920"/>
                </a:lnTo>
                <a:lnTo>
                  <a:pt x="485775" y="377190"/>
                </a:lnTo>
                <a:lnTo>
                  <a:pt x="465785" y="381000"/>
                </a:lnTo>
                <a:lnTo>
                  <a:pt x="437083" y="384810"/>
                </a:lnTo>
                <a:lnTo>
                  <a:pt x="403275" y="386080"/>
                </a:lnTo>
                <a:lnTo>
                  <a:pt x="400646" y="386080"/>
                </a:lnTo>
                <a:lnTo>
                  <a:pt x="398551" y="388620"/>
                </a:lnTo>
                <a:lnTo>
                  <a:pt x="398576" y="393700"/>
                </a:lnTo>
                <a:lnTo>
                  <a:pt x="400697" y="396240"/>
                </a:lnTo>
                <a:lnTo>
                  <a:pt x="403326" y="396240"/>
                </a:lnTo>
                <a:lnTo>
                  <a:pt x="432282" y="394970"/>
                </a:lnTo>
                <a:lnTo>
                  <a:pt x="458038" y="391160"/>
                </a:lnTo>
                <a:lnTo>
                  <a:pt x="478497" y="388620"/>
                </a:lnTo>
                <a:lnTo>
                  <a:pt x="491578" y="386080"/>
                </a:lnTo>
                <a:lnTo>
                  <a:pt x="489178" y="391160"/>
                </a:lnTo>
                <a:lnTo>
                  <a:pt x="484022" y="394970"/>
                </a:lnTo>
                <a:lnTo>
                  <a:pt x="475068" y="400050"/>
                </a:lnTo>
                <a:lnTo>
                  <a:pt x="461276" y="403860"/>
                </a:lnTo>
                <a:lnTo>
                  <a:pt x="400164" y="410210"/>
                </a:lnTo>
                <a:lnTo>
                  <a:pt x="398297" y="412750"/>
                </a:lnTo>
                <a:lnTo>
                  <a:pt x="398856" y="417830"/>
                </a:lnTo>
                <a:lnTo>
                  <a:pt x="400900" y="420370"/>
                </a:lnTo>
                <a:lnTo>
                  <a:pt x="403644" y="420370"/>
                </a:lnTo>
                <a:lnTo>
                  <a:pt x="462673" y="412750"/>
                </a:lnTo>
                <a:lnTo>
                  <a:pt x="466013" y="412750"/>
                </a:lnTo>
                <a:lnTo>
                  <a:pt x="446786" y="422910"/>
                </a:lnTo>
                <a:lnTo>
                  <a:pt x="412470" y="427990"/>
                </a:lnTo>
                <a:lnTo>
                  <a:pt x="381076" y="428967"/>
                </a:lnTo>
                <a:lnTo>
                  <a:pt x="381076" y="439420"/>
                </a:lnTo>
                <a:lnTo>
                  <a:pt x="375323" y="444500"/>
                </a:lnTo>
                <a:lnTo>
                  <a:pt x="370166" y="452120"/>
                </a:lnTo>
                <a:lnTo>
                  <a:pt x="365493" y="458470"/>
                </a:lnTo>
                <a:lnTo>
                  <a:pt x="361251" y="452120"/>
                </a:lnTo>
                <a:lnTo>
                  <a:pt x="356044" y="445770"/>
                </a:lnTo>
                <a:lnTo>
                  <a:pt x="350075" y="439420"/>
                </a:lnTo>
                <a:lnTo>
                  <a:pt x="381076" y="439420"/>
                </a:lnTo>
                <a:lnTo>
                  <a:pt x="381076" y="428967"/>
                </a:lnTo>
                <a:lnTo>
                  <a:pt x="371500" y="429260"/>
                </a:lnTo>
                <a:lnTo>
                  <a:pt x="332320" y="429260"/>
                </a:lnTo>
                <a:lnTo>
                  <a:pt x="332320" y="317500"/>
                </a:lnTo>
                <a:lnTo>
                  <a:pt x="334899" y="316230"/>
                </a:lnTo>
                <a:lnTo>
                  <a:pt x="345236" y="311150"/>
                </a:lnTo>
                <a:lnTo>
                  <a:pt x="363207" y="302260"/>
                </a:lnTo>
                <a:lnTo>
                  <a:pt x="365772" y="300990"/>
                </a:lnTo>
                <a:lnTo>
                  <a:pt x="379437" y="295910"/>
                </a:lnTo>
                <a:lnTo>
                  <a:pt x="389686" y="292100"/>
                </a:lnTo>
                <a:lnTo>
                  <a:pt x="412724" y="285750"/>
                </a:lnTo>
                <a:lnTo>
                  <a:pt x="420204" y="284480"/>
                </a:lnTo>
                <a:lnTo>
                  <a:pt x="425056" y="287020"/>
                </a:lnTo>
                <a:lnTo>
                  <a:pt x="427824" y="293370"/>
                </a:lnTo>
                <a:lnTo>
                  <a:pt x="426554" y="297180"/>
                </a:lnTo>
                <a:lnTo>
                  <a:pt x="423189" y="299720"/>
                </a:lnTo>
                <a:lnTo>
                  <a:pt x="387654" y="327660"/>
                </a:lnTo>
                <a:lnTo>
                  <a:pt x="387019" y="328930"/>
                </a:lnTo>
                <a:lnTo>
                  <a:pt x="388442" y="332740"/>
                </a:lnTo>
                <a:lnTo>
                  <a:pt x="390359" y="334010"/>
                </a:lnTo>
                <a:lnTo>
                  <a:pt x="392353" y="334010"/>
                </a:lnTo>
                <a:lnTo>
                  <a:pt x="496595" y="330200"/>
                </a:lnTo>
                <a:lnTo>
                  <a:pt x="501383" y="330200"/>
                </a:lnTo>
                <a:lnTo>
                  <a:pt x="505548" y="334010"/>
                </a:lnTo>
                <a:lnTo>
                  <a:pt x="506056" y="342900"/>
                </a:lnTo>
                <a:lnTo>
                  <a:pt x="502856" y="347980"/>
                </a:lnTo>
                <a:lnTo>
                  <a:pt x="498360" y="347980"/>
                </a:lnTo>
                <a:lnTo>
                  <a:pt x="479348" y="350520"/>
                </a:lnTo>
                <a:lnTo>
                  <a:pt x="424853" y="355600"/>
                </a:lnTo>
                <a:lnTo>
                  <a:pt x="399745" y="356870"/>
                </a:lnTo>
                <a:lnTo>
                  <a:pt x="397129" y="356870"/>
                </a:lnTo>
                <a:lnTo>
                  <a:pt x="395020" y="359410"/>
                </a:lnTo>
                <a:lnTo>
                  <a:pt x="395058" y="364490"/>
                </a:lnTo>
                <a:lnTo>
                  <a:pt x="397179" y="365760"/>
                </a:lnTo>
                <a:lnTo>
                  <a:pt x="425297" y="365760"/>
                </a:lnTo>
                <a:lnTo>
                  <a:pt x="453961" y="363220"/>
                </a:lnTo>
                <a:lnTo>
                  <a:pt x="480555" y="359410"/>
                </a:lnTo>
                <a:lnTo>
                  <a:pt x="499808" y="356870"/>
                </a:lnTo>
                <a:lnTo>
                  <a:pt x="502272" y="356870"/>
                </a:lnTo>
                <a:lnTo>
                  <a:pt x="504520" y="355600"/>
                </a:lnTo>
                <a:lnTo>
                  <a:pt x="508482" y="355600"/>
                </a:lnTo>
                <a:lnTo>
                  <a:pt x="511848" y="359410"/>
                </a:lnTo>
                <a:lnTo>
                  <a:pt x="512610" y="369570"/>
                </a:lnTo>
                <a:lnTo>
                  <a:pt x="512610" y="330466"/>
                </a:lnTo>
                <a:lnTo>
                  <a:pt x="496214" y="321310"/>
                </a:lnTo>
                <a:lnTo>
                  <a:pt x="406704" y="323850"/>
                </a:lnTo>
                <a:lnTo>
                  <a:pt x="414972" y="317500"/>
                </a:lnTo>
                <a:lnTo>
                  <a:pt x="420573" y="317500"/>
                </a:lnTo>
                <a:lnTo>
                  <a:pt x="428701" y="316230"/>
                </a:lnTo>
                <a:lnTo>
                  <a:pt x="437959" y="314960"/>
                </a:lnTo>
                <a:lnTo>
                  <a:pt x="446938" y="311150"/>
                </a:lnTo>
                <a:lnTo>
                  <a:pt x="480568" y="314960"/>
                </a:lnTo>
                <a:lnTo>
                  <a:pt x="491921" y="314960"/>
                </a:lnTo>
                <a:lnTo>
                  <a:pt x="518350" y="313690"/>
                </a:lnTo>
                <a:lnTo>
                  <a:pt x="535647" y="311150"/>
                </a:lnTo>
                <a:lnTo>
                  <a:pt x="544296" y="309880"/>
                </a:lnTo>
                <a:lnTo>
                  <a:pt x="554266" y="307340"/>
                </a:lnTo>
                <a:lnTo>
                  <a:pt x="564248" y="304800"/>
                </a:lnTo>
                <a:lnTo>
                  <a:pt x="569239" y="303530"/>
                </a:lnTo>
                <a:lnTo>
                  <a:pt x="592683" y="295910"/>
                </a:lnTo>
                <a:lnTo>
                  <a:pt x="592683" y="284365"/>
                </a:lnTo>
                <a:lnTo>
                  <a:pt x="592467" y="284480"/>
                </a:lnTo>
                <a:lnTo>
                  <a:pt x="547916" y="298450"/>
                </a:lnTo>
                <a:lnTo>
                  <a:pt x="499414" y="304800"/>
                </a:lnTo>
                <a:lnTo>
                  <a:pt x="450773" y="302260"/>
                </a:lnTo>
                <a:lnTo>
                  <a:pt x="450773" y="191770"/>
                </a:lnTo>
                <a:lnTo>
                  <a:pt x="479552" y="190500"/>
                </a:lnTo>
                <a:lnTo>
                  <a:pt x="527621" y="184150"/>
                </a:lnTo>
                <a:lnTo>
                  <a:pt x="536028" y="182880"/>
                </a:lnTo>
                <a:lnTo>
                  <a:pt x="586549" y="175260"/>
                </a:lnTo>
                <a:lnTo>
                  <a:pt x="647979" y="160020"/>
                </a:lnTo>
                <a:lnTo>
                  <a:pt x="659168" y="179070"/>
                </a:lnTo>
                <a:lnTo>
                  <a:pt x="663994" y="199390"/>
                </a:lnTo>
                <a:lnTo>
                  <a:pt x="663994" y="170154"/>
                </a:lnTo>
                <a:lnTo>
                  <a:pt x="658545" y="160020"/>
                </a:lnTo>
                <a:lnTo>
                  <a:pt x="654443" y="152400"/>
                </a:lnTo>
                <a:lnTo>
                  <a:pt x="644855" y="105473"/>
                </a:lnTo>
                <a:lnTo>
                  <a:pt x="644855" y="151130"/>
                </a:lnTo>
                <a:lnTo>
                  <a:pt x="576389" y="167640"/>
                </a:lnTo>
                <a:lnTo>
                  <a:pt x="512406" y="176530"/>
                </a:lnTo>
                <a:lnTo>
                  <a:pt x="464908" y="181610"/>
                </a:lnTo>
                <a:lnTo>
                  <a:pt x="445846" y="182880"/>
                </a:lnTo>
                <a:lnTo>
                  <a:pt x="443852" y="182880"/>
                </a:lnTo>
                <a:lnTo>
                  <a:pt x="441286" y="180949"/>
                </a:lnTo>
                <a:lnTo>
                  <a:pt x="441286" y="194310"/>
                </a:lnTo>
                <a:lnTo>
                  <a:pt x="441286" y="303530"/>
                </a:lnTo>
                <a:lnTo>
                  <a:pt x="437578" y="304800"/>
                </a:lnTo>
                <a:lnTo>
                  <a:pt x="433209" y="306070"/>
                </a:lnTo>
                <a:lnTo>
                  <a:pt x="429056" y="307340"/>
                </a:lnTo>
                <a:lnTo>
                  <a:pt x="435851" y="300990"/>
                </a:lnTo>
                <a:lnTo>
                  <a:pt x="438238" y="293370"/>
                </a:lnTo>
                <a:lnTo>
                  <a:pt x="435178" y="287020"/>
                </a:lnTo>
                <a:lnTo>
                  <a:pt x="433311" y="284480"/>
                </a:lnTo>
                <a:lnTo>
                  <a:pt x="431457" y="281940"/>
                </a:lnTo>
                <a:lnTo>
                  <a:pt x="425983" y="278130"/>
                </a:lnTo>
                <a:lnTo>
                  <a:pt x="419163" y="275590"/>
                </a:lnTo>
                <a:lnTo>
                  <a:pt x="411403" y="276860"/>
                </a:lnTo>
                <a:lnTo>
                  <a:pt x="397687" y="279400"/>
                </a:lnTo>
                <a:lnTo>
                  <a:pt x="383197" y="283210"/>
                </a:lnTo>
                <a:lnTo>
                  <a:pt x="368731" y="289560"/>
                </a:lnTo>
                <a:lnTo>
                  <a:pt x="355104" y="295910"/>
                </a:lnTo>
                <a:lnTo>
                  <a:pt x="336550" y="295910"/>
                </a:lnTo>
                <a:lnTo>
                  <a:pt x="336550" y="304800"/>
                </a:lnTo>
                <a:lnTo>
                  <a:pt x="331635" y="307340"/>
                </a:lnTo>
                <a:lnTo>
                  <a:pt x="326288" y="311150"/>
                </a:lnTo>
                <a:lnTo>
                  <a:pt x="322846" y="311150"/>
                </a:lnTo>
                <a:lnTo>
                  <a:pt x="322846" y="320040"/>
                </a:lnTo>
                <a:lnTo>
                  <a:pt x="322846" y="429260"/>
                </a:lnTo>
                <a:lnTo>
                  <a:pt x="209130" y="429260"/>
                </a:lnTo>
                <a:lnTo>
                  <a:pt x="179247" y="424180"/>
                </a:lnTo>
                <a:lnTo>
                  <a:pt x="156908" y="410210"/>
                </a:lnTo>
                <a:lnTo>
                  <a:pt x="142900" y="387350"/>
                </a:lnTo>
                <a:lnTo>
                  <a:pt x="138061" y="358140"/>
                </a:lnTo>
                <a:lnTo>
                  <a:pt x="138912" y="344170"/>
                </a:lnTo>
                <a:lnTo>
                  <a:pt x="141071" y="332740"/>
                </a:lnTo>
                <a:lnTo>
                  <a:pt x="143979" y="322580"/>
                </a:lnTo>
                <a:lnTo>
                  <a:pt x="147027" y="316230"/>
                </a:lnTo>
                <a:lnTo>
                  <a:pt x="154520" y="318770"/>
                </a:lnTo>
                <a:lnTo>
                  <a:pt x="164160" y="320040"/>
                </a:lnTo>
                <a:lnTo>
                  <a:pt x="322846" y="320040"/>
                </a:lnTo>
                <a:lnTo>
                  <a:pt x="322846" y="311150"/>
                </a:lnTo>
                <a:lnTo>
                  <a:pt x="279336" y="311150"/>
                </a:lnTo>
                <a:lnTo>
                  <a:pt x="275424" y="308610"/>
                </a:lnTo>
                <a:lnTo>
                  <a:pt x="274650" y="304800"/>
                </a:lnTo>
                <a:lnTo>
                  <a:pt x="274853" y="302260"/>
                </a:lnTo>
                <a:lnTo>
                  <a:pt x="277914" y="303530"/>
                </a:lnTo>
                <a:lnTo>
                  <a:pt x="296506" y="303530"/>
                </a:lnTo>
                <a:lnTo>
                  <a:pt x="314566" y="304800"/>
                </a:lnTo>
                <a:lnTo>
                  <a:pt x="336550" y="304800"/>
                </a:lnTo>
                <a:lnTo>
                  <a:pt x="336550" y="295910"/>
                </a:lnTo>
                <a:lnTo>
                  <a:pt x="327190" y="295910"/>
                </a:lnTo>
                <a:lnTo>
                  <a:pt x="303288" y="294640"/>
                </a:lnTo>
                <a:lnTo>
                  <a:pt x="286575" y="294640"/>
                </a:lnTo>
                <a:lnTo>
                  <a:pt x="280200" y="293370"/>
                </a:lnTo>
                <a:lnTo>
                  <a:pt x="268363" y="293370"/>
                </a:lnTo>
                <a:lnTo>
                  <a:pt x="260858" y="289560"/>
                </a:lnTo>
                <a:lnTo>
                  <a:pt x="256933" y="281940"/>
                </a:lnTo>
                <a:lnTo>
                  <a:pt x="257873" y="278130"/>
                </a:lnTo>
                <a:lnTo>
                  <a:pt x="258902" y="275590"/>
                </a:lnTo>
                <a:lnTo>
                  <a:pt x="263156" y="275590"/>
                </a:lnTo>
                <a:lnTo>
                  <a:pt x="268681" y="276860"/>
                </a:lnTo>
                <a:lnTo>
                  <a:pt x="282879" y="276860"/>
                </a:lnTo>
                <a:lnTo>
                  <a:pt x="303072" y="278130"/>
                </a:lnTo>
                <a:lnTo>
                  <a:pt x="358216" y="278130"/>
                </a:lnTo>
                <a:lnTo>
                  <a:pt x="360197" y="275590"/>
                </a:lnTo>
                <a:lnTo>
                  <a:pt x="359867" y="270510"/>
                </a:lnTo>
                <a:lnTo>
                  <a:pt x="358711" y="269240"/>
                </a:lnTo>
                <a:lnTo>
                  <a:pt x="357568" y="267970"/>
                </a:lnTo>
                <a:lnTo>
                  <a:pt x="355003" y="267970"/>
                </a:lnTo>
                <a:lnTo>
                  <a:pt x="324205" y="269240"/>
                </a:lnTo>
                <a:lnTo>
                  <a:pt x="294906" y="267970"/>
                </a:lnTo>
                <a:lnTo>
                  <a:pt x="272973" y="266700"/>
                </a:lnTo>
                <a:lnTo>
                  <a:pt x="264287" y="266700"/>
                </a:lnTo>
                <a:lnTo>
                  <a:pt x="254330" y="264160"/>
                </a:lnTo>
                <a:lnTo>
                  <a:pt x="247942" y="260350"/>
                </a:lnTo>
                <a:lnTo>
                  <a:pt x="244614" y="255270"/>
                </a:lnTo>
                <a:lnTo>
                  <a:pt x="243878" y="250190"/>
                </a:lnTo>
                <a:lnTo>
                  <a:pt x="244297" y="245110"/>
                </a:lnTo>
                <a:lnTo>
                  <a:pt x="248678" y="240030"/>
                </a:lnTo>
                <a:lnTo>
                  <a:pt x="255955" y="240030"/>
                </a:lnTo>
                <a:lnTo>
                  <a:pt x="257365" y="241300"/>
                </a:lnTo>
                <a:lnTo>
                  <a:pt x="260438" y="241300"/>
                </a:lnTo>
                <a:lnTo>
                  <a:pt x="276326" y="242570"/>
                </a:lnTo>
                <a:lnTo>
                  <a:pt x="296405" y="245110"/>
                </a:lnTo>
                <a:lnTo>
                  <a:pt x="319227" y="245110"/>
                </a:lnTo>
                <a:lnTo>
                  <a:pt x="343357" y="246380"/>
                </a:lnTo>
                <a:lnTo>
                  <a:pt x="357454" y="246380"/>
                </a:lnTo>
                <a:lnTo>
                  <a:pt x="359524" y="243840"/>
                </a:lnTo>
                <a:lnTo>
                  <a:pt x="359448" y="240030"/>
                </a:lnTo>
                <a:lnTo>
                  <a:pt x="359410" y="238760"/>
                </a:lnTo>
                <a:lnTo>
                  <a:pt x="357301" y="236220"/>
                </a:lnTo>
                <a:lnTo>
                  <a:pt x="327888" y="236220"/>
                </a:lnTo>
                <a:lnTo>
                  <a:pt x="279425" y="233680"/>
                </a:lnTo>
                <a:lnTo>
                  <a:pt x="261772" y="232410"/>
                </a:lnTo>
                <a:lnTo>
                  <a:pt x="252158" y="229870"/>
                </a:lnTo>
                <a:lnTo>
                  <a:pt x="249212" y="224790"/>
                </a:lnTo>
                <a:lnTo>
                  <a:pt x="250139" y="215900"/>
                </a:lnTo>
                <a:lnTo>
                  <a:pt x="254533" y="210820"/>
                </a:lnTo>
                <a:lnTo>
                  <a:pt x="371284" y="210820"/>
                </a:lnTo>
                <a:lnTo>
                  <a:pt x="373075" y="208280"/>
                </a:lnTo>
                <a:lnTo>
                  <a:pt x="341096" y="181610"/>
                </a:lnTo>
                <a:lnTo>
                  <a:pt x="332613" y="177800"/>
                </a:lnTo>
                <a:lnTo>
                  <a:pt x="329171" y="175260"/>
                </a:lnTo>
                <a:lnTo>
                  <a:pt x="322592" y="172720"/>
                </a:lnTo>
                <a:lnTo>
                  <a:pt x="319163" y="168910"/>
                </a:lnTo>
                <a:lnTo>
                  <a:pt x="320725" y="161290"/>
                </a:lnTo>
                <a:lnTo>
                  <a:pt x="324370" y="158750"/>
                </a:lnTo>
                <a:lnTo>
                  <a:pt x="329006" y="158750"/>
                </a:lnTo>
                <a:lnTo>
                  <a:pt x="378015" y="163830"/>
                </a:lnTo>
                <a:lnTo>
                  <a:pt x="411746" y="173990"/>
                </a:lnTo>
                <a:lnTo>
                  <a:pt x="432168" y="185420"/>
                </a:lnTo>
                <a:lnTo>
                  <a:pt x="441286" y="194310"/>
                </a:lnTo>
                <a:lnTo>
                  <a:pt x="441286" y="180949"/>
                </a:lnTo>
                <a:lnTo>
                  <a:pt x="407631" y="162560"/>
                </a:lnTo>
                <a:lnTo>
                  <a:pt x="329044" y="149860"/>
                </a:lnTo>
                <a:lnTo>
                  <a:pt x="319836" y="149860"/>
                </a:lnTo>
                <a:lnTo>
                  <a:pt x="312470" y="154940"/>
                </a:lnTo>
                <a:lnTo>
                  <a:pt x="310756" y="162560"/>
                </a:lnTo>
                <a:lnTo>
                  <a:pt x="310438" y="166370"/>
                </a:lnTo>
                <a:lnTo>
                  <a:pt x="311619" y="171450"/>
                </a:lnTo>
                <a:lnTo>
                  <a:pt x="315937" y="177800"/>
                </a:lnTo>
                <a:lnTo>
                  <a:pt x="324993" y="184150"/>
                </a:lnTo>
                <a:lnTo>
                  <a:pt x="328688" y="186690"/>
                </a:lnTo>
                <a:lnTo>
                  <a:pt x="337616" y="189230"/>
                </a:lnTo>
                <a:lnTo>
                  <a:pt x="343979" y="191770"/>
                </a:lnTo>
                <a:lnTo>
                  <a:pt x="350177" y="195580"/>
                </a:lnTo>
                <a:lnTo>
                  <a:pt x="355752" y="198120"/>
                </a:lnTo>
                <a:lnTo>
                  <a:pt x="360248" y="201930"/>
                </a:lnTo>
                <a:lnTo>
                  <a:pt x="262572" y="201930"/>
                </a:lnTo>
                <a:lnTo>
                  <a:pt x="253542" y="203200"/>
                </a:lnTo>
                <a:lnTo>
                  <a:pt x="246710" y="207010"/>
                </a:lnTo>
                <a:lnTo>
                  <a:pt x="242227" y="213360"/>
                </a:lnTo>
                <a:lnTo>
                  <a:pt x="240233" y="219710"/>
                </a:lnTo>
                <a:lnTo>
                  <a:pt x="239750" y="224790"/>
                </a:lnTo>
                <a:lnTo>
                  <a:pt x="241274" y="229870"/>
                </a:lnTo>
                <a:lnTo>
                  <a:pt x="245097" y="233680"/>
                </a:lnTo>
                <a:lnTo>
                  <a:pt x="239179" y="237490"/>
                </a:lnTo>
                <a:lnTo>
                  <a:pt x="235038" y="242570"/>
                </a:lnTo>
                <a:lnTo>
                  <a:pt x="234442" y="250190"/>
                </a:lnTo>
                <a:lnTo>
                  <a:pt x="234873" y="255270"/>
                </a:lnTo>
                <a:lnTo>
                  <a:pt x="237375" y="261620"/>
                </a:lnTo>
                <a:lnTo>
                  <a:pt x="242277" y="267970"/>
                </a:lnTo>
                <a:lnTo>
                  <a:pt x="249910" y="271780"/>
                </a:lnTo>
                <a:lnTo>
                  <a:pt x="248310" y="276860"/>
                </a:lnTo>
                <a:lnTo>
                  <a:pt x="247027" y="283210"/>
                </a:lnTo>
                <a:lnTo>
                  <a:pt x="252564" y="294640"/>
                </a:lnTo>
                <a:lnTo>
                  <a:pt x="257810" y="298450"/>
                </a:lnTo>
                <a:lnTo>
                  <a:pt x="265582" y="300990"/>
                </a:lnTo>
                <a:lnTo>
                  <a:pt x="265150" y="303530"/>
                </a:lnTo>
                <a:lnTo>
                  <a:pt x="265341" y="307340"/>
                </a:lnTo>
                <a:lnTo>
                  <a:pt x="266852" y="311150"/>
                </a:lnTo>
                <a:lnTo>
                  <a:pt x="166039" y="311150"/>
                </a:lnTo>
                <a:lnTo>
                  <a:pt x="162699" y="309880"/>
                </a:lnTo>
                <a:lnTo>
                  <a:pt x="152869" y="308610"/>
                </a:lnTo>
                <a:lnTo>
                  <a:pt x="148348" y="306070"/>
                </a:lnTo>
                <a:lnTo>
                  <a:pt x="120878" y="273050"/>
                </a:lnTo>
                <a:lnTo>
                  <a:pt x="101396" y="237490"/>
                </a:lnTo>
                <a:lnTo>
                  <a:pt x="89789" y="196850"/>
                </a:lnTo>
                <a:lnTo>
                  <a:pt x="85940" y="153670"/>
                </a:lnTo>
                <a:lnTo>
                  <a:pt x="94729" y="110490"/>
                </a:lnTo>
                <a:lnTo>
                  <a:pt x="116230" y="72390"/>
                </a:lnTo>
                <a:lnTo>
                  <a:pt x="146875" y="41910"/>
                </a:lnTo>
                <a:lnTo>
                  <a:pt x="183121" y="20320"/>
                </a:lnTo>
                <a:lnTo>
                  <a:pt x="221411" y="8890"/>
                </a:lnTo>
                <a:lnTo>
                  <a:pt x="267347" y="10160"/>
                </a:lnTo>
                <a:lnTo>
                  <a:pt x="306730" y="27940"/>
                </a:lnTo>
                <a:lnTo>
                  <a:pt x="338340" y="60960"/>
                </a:lnTo>
                <a:lnTo>
                  <a:pt x="360984" y="107950"/>
                </a:lnTo>
                <a:lnTo>
                  <a:pt x="361619" y="110490"/>
                </a:lnTo>
                <a:lnTo>
                  <a:pt x="363435" y="111760"/>
                </a:lnTo>
                <a:lnTo>
                  <a:pt x="367538" y="111760"/>
                </a:lnTo>
                <a:lnTo>
                  <a:pt x="369354" y="110490"/>
                </a:lnTo>
                <a:lnTo>
                  <a:pt x="369989" y="107950"/>
                </a:lnTo>
                <a:lnTo>
                  <a:pt x="377329" y="92710"/>
                </a:lnTo>
                <a:lnTo>
                  <a:pt x="392620" y="60960"/>
                </a:lnTo>
                <a:lnTo>
                  <a:pt x="424243" y="27940"/>
                </a:lnTo>
                <a:lnTo>
                  <a:pt x="463626" y="10160"/>
                </a:lnTo>
                <a:lnTo>
                  <a:pt x="509549" y="8890"/>
                </a:lnTo>
                <a:lnTo>
                  <a:pt x="547319" y="20320"/>
                </a:lnTo>
                <a:lnTo>
                  <a:pt x="583133" y="40640"/>
                </a:lnTo>
                <a:lnTo>
                  <a:pt x="613600" y="69850"/>
                </a:lnTo>
                <a:lnTo>
                  <a:pt x="635317" y="107950"/>
                </a:lnTo>
                <a:lnTo>
                  <a:pt x="644855" y="151130"/>
                </a:lnTo>
                <a:lnTo>
                  <a:pt x="644855" y="105473"/>
                </a:lnTo>
                <a:lnTo>
                  <a:pt x="621982" y="66040"/>
                </a:lnTo>
                <a:lnTo>
                  <a:pt x="589559" y="34290"/>
                </a:lnTo>
                <a:lnTo>
                  <a:pt x="551294" y="11430"/>
                </a:lnTo>
                <a:lnTo>
                  <a:pt x="510921" y="0"/>
                </a:lnTo>
                <a:lnTo>
                  <a:pt x="464477" y="0"/>
                </a:lnTo>
                <a:lnTo>
                  <a:pt x="423786" y="16510"/>
                </a:lnTo>
                <a:lnTo>
                  <a:pt x="390321" y="48260"/>
                </a:lnTo>
                <a:lnTo>
                  <a:pt x="365480" y="92710"/>
                </a:lnTo>
                <a:lnTo>
                  <a:pt x="340652" y="48260"/>
                </a:lnTo>
                <a:lnTo>
                  <a:pt x="307174" y="16510"/>
                </a:lnTo>
                <a:lnTo>
                  <a:pt x="288404" y="8890"/>
                </a:lnTo>
                <a:lnTo>
                  <a:pt x="266496" y="0"/>
                </a:lnTo>
                <a:lnTo>
                  <a:pt x="220052" y="0"/>
                </a:lnTo>
                <a:lnTo>
                  <a:pt x="179476" y="11430"/>
                </a:lnTo>
                <a:lnTo>
                  <a:pt x="141058" y="34290"/>
                </a:lnTo>
                <a:lnTo>
                  <a:pt x="108572" y="66040"/>
                </a:lnTo>
                <a:lnTo>
                  <a:pt x="85775" y="106680"/>
                </a:lnTo>
                <a:lnTo>
                  <a:pt x="76466" y="153670"/>
                </a:lnTo>
                <a:lnTo>
                  <a:pt x="80340" y="198120"/>
                </a:lnTo>
                <a:lnTo>
                  <a:pt x="92049" y="238760"/>
                </a:lnTo>
                <a:lnTo>
                  <a:pt x="111696" y="276860"/>
                </a:lnTo>
                <a:lnTo>
                  <a:pt x="139344" y="309880"/>
                </a:lnTo>
                <a:lnTo>
                  <a:pt x="135674" y="317500"/>
                </a:lnTo>
                <a:lnTo>
                  <a:pt x="132194" y="328930"/>
                </a:lnTo>
                <a:lnTo>
                  <a:pt x="129590" y="341630"/>
                </a:lnTo>
                <a:lnTo>
                  <a:pt x="128663" y="356870"/>
                </a:lnTo>
                <a:lnTo>
                  <a:pt x="128765" y="359410"/>
                </a:lnTo>
                <a:lnTo>
                  <a:pt x="132816" y="387350"/>
                </a:lnTo>
                <a:lnTo>
                  <a:pt x="146583" y="412750"/>
                </a:lnTo>
                <a:lnTo>
                  <a:pt x="171488" y="431800"/>
                </a:lnTo>
                <a:lnTo>
                  <a:pt x="209130" y="438150"/>
                </a:lnTo>
                <a:lnTo>
                  <a:pt x="331851" y="438150"/>
                </a:lnTo>
                <a:lnTo>
                  <a:pt x="335762" y="439420"/>
                </a:lnTo>
                <a:lnTo>
                  <a:pt x="343446" y="445770"/>
                </a:lnTo>
                <a:lnTo>
                  <a:pt x="350393" y="454660"/>
                </a:lnTo>
                <a:lnTo>
                  <a:pt x="356476" y="462280"/>
                </a:lnTo>
                <a:lnTo>
                  <a:pt x="362458" y="471170"/>
                </a:lnTo>
                <a:lnTo>
                  <a:pt x="368515" y="471170"/>
                </a:lnTo>
                <a:lnTo>
                  <a:pt x="369404" y="469900"/>
                </a:lnTo>
                <a:lnTo>
                  <a:pt x="375183" y="461010"/>
                </a:lnTo>
                <a:lnTo>
                  <a:pt x="377278" y="458470"/>
                </a:lnTo>
                <a:lnTo>
                  <a:pt x="381469" y="453390"/>
                </a:lnTo>
                <a:lnTo>
                  <a:pt x="388289" y="445770"/>
                </a:lnTo>
                <a:lnTo>
                  <a:pt x="394423" y="439420"/>
                </a:lnTo>
                <a:lnTo>
                  <a:pt x="395643" y="438150"/>
                </a:lnTo>
                <a:lnTo>
                  <a:pt x="420471" y="436880"/>
                </a:lnTo>
                <a:lnTo>
                  <a:pt x="443369" y="433070"/>
                </a:lnTo>
                <a:lnTo>
                  <a:pt x="454469" y="429260"/>
                </a:lnTo>
                <a:lnTo>
                  <a:pt x="461873" y="426720"/>
                </a:lnTo>
                <a:lnTo>
                  <a:pt x="473519" y="419100"/>
                </a:lnTo>
                <a:lnTo>
                  <a:pt x="475716" y="416560"/>
                </a:lnTo>
                <a:lnTo>
                  <a:pt x="476719" y="412750"/>
                </a:lnTo>
                <a:lnTo>
                  <a:pt x="476656" y="410210"/>
                </a:lnTo>
                <a:lnTo>
                  <a:pt x="483514" y="406400"/>
                </a:lnTo>
                <a:lnTo>
                  <a:pt x="489331" y="403860"/>
                </a:lnTo>
                <a:lnTo>
                  <a:pt x="494080" y="398780"/>
                </a:lnTo>
                <a:lnTo>
                  <a:pt x="497763" y="394970"/>
                </a:lnTo>
                <a:lnTo>
                  <a:pt x="500545" y="391160"/>
                </a:lnTo>
                <a:lnTo>
                  <a:pt x="501434" y="387350"/>
                </a:lnTo>
                <a:lnTo>
                  <a:pt x="501662" y="383540"/>
                </a:lnTo>
                <a:lnTo>
                  <a:pt x="511886" y="379730"/>
                </a:lnTo>
                <a:lnTo>
                  <a:pt x="517931" y="374650"/>
                </a:lnTo>
                <a:lnTo>
                  <a:pt x="520839" y="369570"/>
                </a:lnTo>
                <a:lnTo>
                  <a:pt x="521652" y="364490"/>
                </a:lnTo>
                <a:lnTo>
                  <a:pt x="535000" y="355600"/>
                </a:lnTo>
                <a:lnTo>
                  <a:pt x="536905" y="354330"/>
                </a:lnTo>
                <a:lnTo>
                  <a:pt x="550240" y="345440"/>
                </a:lnTo>
                <a:lnTo>
                  <a:pt x="574700" y="326390"/>
                </a:lnTo>
                <a:lnTo>
                  <a:pt x="595401" y="306070"/>
                </a:lnTo>
                <a:lnTo>
                  <a:pt x="604050" y="295910"/>
                </a:lnTo>
                <a:lnTo>
                  <a:pt x="612711" y="285750"/>
                </a:lnTo>
                <a:lnTo>
                  <a:pt x="653275" y="254000"/>
                </a:lnTo>
                <a:lnTo>
                  <a:pt x="670407" y="224790"/>
                </a:lnTo>
                <a:lnTo>
                  <a:pt x="673760" y="204470"/>
                </a:lnTo>
                <a:close/>
              </a:path>
              <a:path w="6410325" h="8893810">
                <a:moveTo>
                  <a:pt x="6410325" y="502119"/>
                </a:moveTo>
                <a:lnTo>
                  <a:pt x="0" y="502119"/>
                </a:lnTo>
                <a:lnTo>
                  <a:pt x="0" y="8893645"/>
                </a:lnTo>
                <a:lnTo>
                  <a:pt x="6410325" y="8893645"/>
                </a:lnTo>
                <a:lnTo>
                  <a:pt x="6410325" y="502119"/>
                </a:lnTo>
                <a:close/>
              </a:path>
            </a:pathLst>
          </a:custGeom>
          <a:solidFill>
            <a:srgbClr val="FF8F45"/>
          </a:solidFill>
        </p:spPr>
        <p:txBody>
          <a:bodyPr wrap="square" lIns="0" tIns="0" rIns="0" bIns="0" rtlCol="0"/>
          <a:lstStyle/>
          <a:p>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1015478" y="1"/>
            <a:ext cx="4438649" cy="5753099"/>
          </a:xfrm>
          <a:prstGeom prst="rect">
            <a:avLst/>
          </a:prstGeom>
        </p:spPr>
      </p:pic>
      <p:sp>
        <p:nvSpPr>
          <p:cNvPr id="9" name="object 9"/>
          <p:cNvSpPr txBox="1">
            <a:spLocks noGrp="1"/>
          </p:cNvSpPr>
          <p:nvPr>
            <p:ph type="title"/>
          </p:nvPr>
        </p:nvSpPr>
        <p:spPr>
          <a:xfrm>
            <a:off x="5765269" y="161239"/>
            <a:ext cx="2730500" cy="585893"/>
          </a:xfrm>
          <a:prstGeom prst="rect">
            <a:avLst/>
          </a:prstGeom>
        </p:spPr>
        <p:txBody>
          <a:bodyPr vert="horz" wrap="square" lIns="0" tIns="8467" rIns="0" bIns="0" rtlCol="0">
            <a:spAutoFit/>
          </a:bodyPr>
          <a:lstStyle/>
          <a:p>
            <a:pPr marL="8467">
              <a:lnSpc>
                <a:spcPct val="100000"/>
              </a:lnSpc>
              <a:spcBef>
                <a:spcPts val="67"/>
              </a:spcBef>
            </a:pPr>
            <a:r>
              <a:rPr sz="3734" dirty="0">
                <a:solidFill>
                  <a:srgbClr val="000000"/>
                </a:solidFill>
              </a:rPr>
              <a:t>Our</a:t>
            </a:r>
            <a:r>
              <a:rPr sz="3734" spc="-273" dirty="0">
                <a:solidFill>
                  <a:srgbClr val="000000"/>
                </a:solidFill>
              </a:rPr>
              <a:t> </a:t>
            </a:r>
            <a:r>
              <a:rPr sz="3734" spc="-73" dirty="0">
                <a:solidFill>
                  <a:srgbClr val="000000"/>
                </a:solidFill>
              </a:rPr>
              <a:t>Founder</a:t>
            </a:r>
            <a:endParaRPr sz="3734"/>
          </a:p>
        </p:txBody>
      </p:sp>
      <p:sp>
        <p:nvSpPr>
          <p:cNvPr id="10" name="object 10"/>
          <p:cNvSpPr txBox="1"/>
          <p:nvPr/>
        </p:nvSpPr>
        <p:spPr>
          <a:xfrm>
            <a:off x="5765269" y="996137"/>
            <a:ext cx="3782907" cy="239607"/>
          </a:xfrm>
          <a:prstGeom prst="rect">
            <a:avLst/>
          </a:prstGeom>
        </p:spPr>
        <p:txBody>
          <a:bodyPr vert="horz" wrap="square" lIns="0" tIns="11430" rIns="0" bIns="0" rtlCol="0">
            <a:spAutoFit/>
          </a:bodyPr>
          <a:lstStyle/>
          <a:p>
            <a:pPr marL="8467">
              <a:lnSpc>
                <a:spcPct val="100000"/>
              </a:lnSpc>
              <a:spcBef>
                <a:spcPts val="90"/>
              </a:spcBef>
            </a:pPr>
            <a:r>
              <a:rPr sz="1433" b="1" dirty="0">
                <a:latin typeface="Trebuchet MS"/>
                <a:cs typeface="Trebuchet MS"/>
              </a:rPr>
              <a:t>Charity</a:t>
            </a:r>
            <a:r>
              <a:rPr sz="1433" b="1" spc="20" dirty="0">
                <a:latin typeface="Trebuchet MS"/>
                <a:cs typeface="Trebuchet MS"/>
              </a:rPr>
              <a:t> </a:t>
            </a:r>
            <a:r>
              <a:rPr sz="1433" b="1" dirty="0">
                <a:latin typeface="Trebuchet MS"/>
                <a:cs typeface="Trebuchet MS"/>
              </a:rPr>
              <a:t>S.</a:t>
            </a:r>
            <a:r>
              <a:rPr sz="1433" b="1" spc="20" dirty="0">
                <a:latin typeface="Trebuchet MS"/>
                <a:cs typeface="Trebuchet MS"/>
              </a:rPr>
              <a:t> </a:t>
            </a:r>
            <a:r>
              <a:rPr sz="1433" b="1" dirty="0">
                <a:latin typeface="Trebuchet MS"/>
                <a:cs typeface="Trebuchet MS"/>
              </a:rPr>
              <a:t>Bean,CMA,</a:t>
            </a:r>
            <a:r>
              <a:rPr sz="1433" b="1" spc="23" dirty="0">
                <a:latin typeface="Trebuchet MS"/>
                <a:cs typeface="Trebuchet MS"/>
              </a:rPr>
              <a:t> </a:t>
            </a:r>
            <a:r>
              <a:rPr sz="1433" b="1" dirty="0">
                <a:latin typeface="Trebuchet MS"/>
                <a:cs typeface="Trebuchet MS"/>
              </a:rPr>
              <a:t>CFSD,</a:t>
            </a:r>
            <a:r>
              <a:rPr sz="1433" b="1" spc="17" dirty="0">
                <a:latin typeface="Trebuchet MS"/>
                <a:cs typeface="Trebuchet MS"/>
              </a:rPr>
              <a:t> </a:t>
            </a:r>
            <a:r>
              <a:rPr sz="1433" b="1" spc="33" dirty="0">
                <a:latin typeface="Trebuchet MS"/>
                <a:cs typeface="Trebuchet MS"/>
              </a:rPr>
              <a:t>CLC,</a:t>
            </a:r>
            <a:r>
              <a:rPr sz="1433" b="1" spc="20" dirty="0">
                <a:latin typeface="Trebuchet MS"/>
                <a:cs typeface="Trebuchet MS"/>
              </a:rPr>
              <a:t> </a:t>
            </a:r>
            <a:r>
              <a:rPr sz="1433" b="1" dirty="0">
                <a:latin typeface="Trebuchet MS"/>
                <a:cs typeface="Trebuchet MS"/>
              </a:rPr>
              <a:t>CHW,</a:t>
            </a:r>
            <a:r>
              <a:rPr sz="1433" b="1" spc="23" dirty="0">
                <a:latin typeface="Trebuchet MS"/>
                <a:cs typeface="Trebuchet MS"/>
              </a:rPr>
              <a:t> </a:t>
            </a:r>
            <a:r>
              <a:rPr sz="1433" b="1" spc="-17" dirty="0">
                <a:latin typeface="Trebuchet MS"/>
                <a:cs typeface="Trebuchet MS"/>
              </a:rPr>
              <a:t>SRN</a:t>
            </a:r>
            <a:endParaRPr sz="1433">
              <a:latin typeface="Trebuchet MS"/>
              <a:cs typeface="Trebuchet MS"/>
            </a:endParaRPr>
          </a:p>
        </p:txBody>
      </p:sp>
      <p:sp>
        <p:nvSpPr>
          <p:cNvPr id="11" name="object 11"/>
          <p:cNvSpPr txBox="1"/>
          <p:nvPr/>
        </p:nvSpPr>
        <p:spPr>
          <a:xfrm>
            <a:off x="7135770" y="1416380"/>
            <a:ext cx="3655483" cy="5198533"/>
          </a:xfrm>
          <a:prstGeom prst="rect">
            <a:avLst/>
          </a:prstGeom>
        </p:spPr>
        <p:txBody>
          <a:bodyPr vert="horz" wrap="square" lIns="0" tIns="8467" rIns="0" bIns="0" rtlCol="0">
            <a:spAutoFit/>
          </a:bodyPr>
          <a:lstStyle/>
          <a:p>
            <a:pPr marL="99912" marR="94831" indent="-423" algn="ctr">
              <a:lnSpc>
                <a:spcPct val="141700"/>
              </a:lnSpc>
              <a:spcBef>
                <a:spcPts val="67"/>
              </a:spcBef>
            </a:pPr>
            <a:r>
              <a:rPr sz="1000" b="1" dirty="0">
                <a:latin typeface="Trebuchet MS"/>
                <a:cs typeface="Trebuchet MS"/>
              </a:rPr>
              <a:t>I</a:t>
            </a:r>
            <a:r>
              <a:rPr sz="1000" b="1" spc="-43" dirty="0">
                <a:latin typeface="Trebuchet MS"/>
                <a:cs typeface="Trebuchet MS"/>
              </a:rPr>
              <a:t> </a:t>
            </a:r>
            <a:r>
              <a:rPr sz="1000" b="1" spc="110" dirty="0">
                <a:latin typeface="Trebuchet MS"/>
                <a:cs typeface="Trebuchet MS"/>
              </a:rPr>
              <a:t>AM</a:t>
            </a:r>
            <a:r>
              <a:rPr sz="1000" b="1" spc="-40" dirty="0">
                <a:latin typeface="Trebuchet MS"/>
                <a:cs typeface="Trebuchet MS"/>
              </a:rPr>
              <a:t> </a:t>
            </a:r>
            <a:r>
              <a:rPr sz="1000" b="1" spc="50" dirty="0">
                <a:latin typeface="Trebuchet MS"/>
                <a:cs typeface="Trebuchet MS"/>
              </a:rPr>
              <a:t>A</a:t>
            </a:r>
            <a:r>
              <a:rPr sz="1000" b="1" spc="-40" dirty="0">
                <a:latin typeface="Trebuchet MS"/>
                <a:cs typeface="Trebuchet MS"/>
              </a:rPr>
              <a:t> </a:t>
            </a:r>
            <a:r>
              <a:rPr sz="1000" b="1" spc="-27" dirty="0">
                <a:latin typeface="Trebuchet MS"/>
                <a:cs typeface="Trebuchet MS"/>
              </a:rPr>
              <a:t>CERTIFIED</a:t>
            </a:r>
            <a:r>
              <a:rPr sz="1000" b="1" spc="-40" dirty="0">
                <a:latin typeface="Trebuchet MS"/>
                <a:cs typeface="Trebuchet MS"/>
              </a:rPr>
              <a:t> </a:t>
            </a:r>
            <a:r>
              <a:rPr sz="1000" b="1" dirty="0">
                <a:latin typeface="Trebuchet MS"/>
                <a:cs typeface="Trebuchet MS"/>
              </a:rPr>
              <a:t>PREGNANCY,</a:t>
            </a:r>
            <a:r>
              <a:rPr sz="1000" b="1" spc="-40" dirty="0">
                <a:latin typeface="Trebuchet MS"/>
                <a:cs typeface="Trebuchet MS"/>
              </a:rPr>
              <a:t> </a:t>
            </a:r>
            <a:r>
              <a:rPr sz="1000" b="1" spc="-30" dirty="0">
                <a:latin typeface="Trebuchet MS"/>
                <a:cs typeface="Trebuchet MS"/>
              </a:rPr>
              <a:t>LABOR,</a:t>
            </a:r>
            <a:r>
              <a:rPr sz="1000" b="1" spc="-40" dirty="0">
                <a:latin typeface="Trebuchet MS"/>
                <a:cs typeface="Trebuchet MS"/>
              </a:rPr>
              <a:t> </a:t>
            </a:r>
            <a:r>
              <a:rPr sz="1000" b="1" spc="-30" dirty="0">
                <a:latin typeface="Trebuchet MS"/>
                <a:cs typeface="Trebuchet MS"/>
              </a:rPr>
              <a:t>CHILDBIRTH,</a:t>
            </a:r>
            <a:r>
              <a:rPr sz="1000" b="1" spc="-40" dirty="0">
                <a:latin typeface="Trebuchet MS"/>
                <a:cs typeface="Trebuchet MS"/>
              </a:rPr>
              <a:t> </a:t>
            </a:r>
            <a:r>
              <a:rPr sz="1000" b="1" spc="-17" dirty="0">
                <a:latin typeface="Trebuchet MS"/>
                <a:cs typeface="Trebuchet MS"/>
              </a:rPr>
              <a:t>AND </a:t>
            </a:r>
            <a:r>
              <a:rPr sz="1000" b="1" dirty="0">
                <a:latin typeface="Trebuchet MS"/>
                <a:cs typeface="Trebuchet MS"/>
              </a:rPr>
              <a:t>POSTPARTUM</a:t>
            </a:r>
            <a:r>
              <a:rPr sz="1000" b="1" spc="17" dirty="0">
                <a:latin typeface="Trebuchet MS"/>
                <a:cs typeface="Trebuchet MS"/>
              </a:rPr>
              <a:t> </a:t>
            </a:r>
            <a:r>
              <a:rPr sz="1000" b="1" dirty="0">
                <a:latin typeface="Trebuchet MS"/>
                <a:cs typeface="Trebuchet MS"/>
              </a:rPr>
              <a:t>DOULA</a:t>
            </a:r>
            <a:r>
              <a:rPr sz="1000" b="1" spc="17" dirty="0">
                <a:latin typeface="Trebuchet MS"/>
                <a:cs typeface="Trebuchet MS"/>
              </a:rPr>
              <a:t> </a:t>
            </a:r>
            <a:r>
              <a:rPr sz="1000" b="1" dirty="0">
                <a:latin typeface="Trebuchet MS"/>
                <a:cs typeface="Trebuchet MS"/>
              </a:rPr>
              <a:t>WHO</a:t>
            </a:r>
            <a:r>
              <a:rPr sz="1000" b="1" spc="17" dirty="0">
                <a:latin typeface="Trebuchet MS"/>
                <a:cs typeface="Trebuchet MS"/>
              </a:rPr>
              <a:t> </a:t>
            </a:r>
            <a:r>
              <a:rPr sz="1000" b="1" dirty="0">
                <a:latin typeface="Trebuchet MS"/>
                <a:cs typeface="Trebuchet MS"/>
              </a:rPr>
              <a:t>SPECIALIZES</a:t>
            </a:r>
            <a:r>
              <a:rPr sz="1000" b="1" spc="17" dirty="0">
                <a:latin typeface="Trebuchet MS"/>
                <a:cs typeface="Trebuchet MS"/>
              </a:rPr>
              <a:t> </a:t>
            </a:r>
            <a:r>
              <a:rPr sz="1000" b="1" dirty="0">
                <a:latin typeface="Trebuchet MS"/>
                <a:cs typeface="Trebuchet MS"/>
              </a:rPr>
              <a:t>IN</a:t>
            </a:r>
            <a:r>
              <a:rPr sz="1000" b="1" spc="17" dirty="0">
                <a:latin typeface="Trebuchet MS"/>
                <a:cs typeface="Trebuchet MS"/>
              </a:rPr>
              <a:t> </a:t>
            </a:r>
            <a:r>
              <a:rPr sz="1000" b="1" spc="-7" dirty="0">
                <a:latin typeface="Trebuchet MS"/>
                <a:cs typeface="Trebuchet MS"/>
              </a:rPr>
              <a:t>HOSPITAL </a:t>
            </a:r>
            <a:r>
              <a:rPr sz="1000" b="1" spc="-50" dirty="0">
                <a:latin typeface="Trebuchet MS"/>
                <a:cs typeface="Trebuchet MS"/>
              </a:rPr>
              <a:t>BIRTH.</a:t>
            </a:r>
            <a:r>
              <a:rPr sz="1000" b="1" spc="-10" dirty="0">
                <a:latin typeface="Trebuchet MS"/>
                <a:cs typeface="Trebuchet MS"/>
              </a:rPr>
              <a:t> </a:t>
            </a:r>
            <a:r>
              <a:rPr sz="1000" b="1" dirty="0">
                <a:latin typeface="Trebuchet MS"/>
                <a:cs typeface="Trebuchet MS"/>
              </a:rPr>
              <a:t>I</a:t>
            </a:r>
            <a:r>
              <a:rPr sz="1000" b="1" spc="-7" dirty="0">
                <a:latin typeface="Trebuchet MS"/>
                <a:cs typeface="Trebuchet MS"/>
              </a:rPr>
              <a:t> </a:t>
            </a:r>
            <a:r>
              <a:rPr sz="1000" b="1" spc="-13" dirty="0">
                <a:latin typeface="Trebuchet MS"/>
                <a:cs typeface="Trebuchet MS"/>
              </a:rPr>
              <a:t>HOLD</a:t>
            </a:r>
            <a:r>
              <a:rPr sz="1000" b="1" spc="-10" dirty="0">
                <a:latin typeface="Trebuchet MS"/>
                <a:cs typeface="Trebuchet MS"/>
              </a:rPr>
              <a:t> </a:t>
            </a:r>
            <a:r>
              <a:rPr sz="1000" b="1" spc="63" dirty="0">
                <a:latin typeface="Trebuchet MS"/>
                <a:cs typeface="Trebuchet MS"/>
              </a:rPr>
              <a:t>MANY</a:t>
            </a:r>
            <a:r>
              <a:rPr sz="1000" b="1" spc="-7" dirty="0">
                <a:latin typeface="Trebuchet MS"/>
                <a:cs typeface="Trebuchet MS"/>
              </a:rPr>
              <a:t> </a:t>
            </a:r>
            <a:r>
              <a:rPr sz="1000" b="1" dirty="0">
                <a:latin typeface="Trebuchet MS"/>
                <a:cs typeface="Trebuchet MS"/>
              </a:rPr>
              <a:t>CERTIFICATIONS</a:t>
            </a:r>
            <a:r>
              <a:rPr sz="1000" b="1" spc="-10" dirty="0">
                <a:latin typeface="Trebuchet MS"/>
                <a:cs typeface="Trebuchet MS"/>
              </a:rPr>
              <a:t> </a:t>
            </a:r>
            <a:r>
              <a:rPr sz="1000" b="1" dirty="0">
                <a:latin typeface="Trebuchet MS"/>
                <a:cs typeface="Trebuchet MS"/>
              </a:rPr>
              <a:t>INCLUDING</a:t>
            </a:r>
            <a:r>
              <a:rPr sz="1000" b="1" spc="-7" dirty="0">
                <a:latin typeface="Trebuchet MS"/>
                <a:cs typeface="Trebuchet MS"/>
              </a:rPr>
              <a:t> </a:t>
            </a:r>
            <a:r>
              <a:rPr sz="1000" b="1" spc="23" dirty="0">
                <a:latin typeface="Trebuchet MS"/>
                <a:cs typeface="Trebuchet MS"/>
              </a:rPr>
              <a:t>MEDICAL</a:t>
            </a:r>
            <a:endParaRPr sz="1000">
              <a:latin typeface="Trebuchet MS"/>
              <a:cs typeface="Trebuchet MS"/>
            </a:endParaRPr>
          </a:p>
          <a:p>
            <a:pPr marL="201517" marR="3387" indent="-193473">
              <a:lnSpc>
                <a:spcPct val="141700"/>
              </a:lnSpc>
            </a:pPr>
            <a:r>
              <a:rPr sz="1000" b="1" dirty="0">
                <a:latin typeface="Trebuchet MS"/>
                <a:cs typeface="Trebuchet MS"/>
              </a:rPr>
              <a:t>ASSISTANT,</a:t>
            </a:r>
            <a:r>
              <a:rPr sz="1000" b="1" spc="13" dirty="0">
                <a:latin typeface="Trebuchet MS"/>
                <a:cs typeface="Trebuchet MS"/>
              </a:rPr>
              <a:t> </a:t>
            </a:r>
            <a:r>
              <a:rPr sz="1000" b="1" dirty="0">
                <a:latin typeface="Trebuchet MS"/>
                <a:cs typeface="Trebuchet MS"/>
              </a:rPr>
              <a:t>LACTATION</a:t>
            </a:r>
            <a:r>
              <a:rPr sz="1000" b="1" spc="17" dirty="0">
                <a:latin typeface="Trebuchet MS"/>
                <a:cs typeface="Trebuchet MS"/>
              </a:rPr>
              <a:t> </a:t>
            </a:r>
            <a:r>
              <a:rPr sz="1000" b="1" dirty="0">
                <a:latin typeface="Trebuchet MS"/>
                <a:cs typeface="Trebuchet MS"/>
              </a:rPr>
              <a:t>CONSULTANT,</a:t>
            </a:r>
            <a:r>
              <a:rPr sz="1000" b="1" spc="13" dirty="0">
                <a:latin typeface="Trebuchet MS"/>
                <a:cs typeface="Trebuchet MS"/>
              </a:rPr>
              <a:t> </a:t>
            </a:r>
            <a:r>
              <a:rPr sz="1000" b="1" spc="-47" dirty="0">
                <a:latin typeface="Trebuchet MS"/>
                <a:cs typeface="Trebuchet MS"/>
              </a:rPr>
              <a:t>BIRTH</a:t>
            </a:r>
            <a:r>
              <a:rPr sz="1000" b="1" spc="17" dirty="0">
                <a:latin typeface="Trebuchet MS"/>
                <a:cs typeface="Trebuchet MS"/>
              </a:rPr>
              <a:t> </a:t>
            </a:r>
            <a:r>
              <a:rPr sz="1000" b="1" spc="33" dirty="0">
                <a:latin typeface="Trebuchet MS"/>
                <a:cs typeface="Trebuchet MS"/>
              </a:rPr>
              <a:t>ASSISTANT</a:t>
            </a:r>
            <a:r>
              <a:rPr sz="1000" b="1" spc="17" dirty="0">
                <a:latin typeface="Trebuchet MS"/>
                <a:cs typeface="Trebuchet MS"/>
              </a:rPr>
              <a:t> </a:t>
            </a:r>
            <a:r>
              <a:rPr sz="1000" b="1" spc="-17" dirty="0">
                <a:latin typeface="Trebuchet MS"/>
                <a:cs typeface="Trebuchet MS"/>
              </a:rPr>
              <a:t>AND </a:t>
            </a:r>
            <a:r>
              <a:rPr sz="1000" b="1" spc="60" dirty="0">
                <a:latin typeface="Trebuchet MS"/>
                <a:cs typeface="Trebuchet MS"/>
              </a:rPr>
              <a:t>SOON</a:t>
            </a:r>
            <a:r>
              <a:rPr sz="1000" b="1" spc="-40" dirty="0">
                <a:latin typeface="Trebuchet MS"/>
                <a:cs typeface="Trebuchet MS"/>
              </a:rPr>
              <a:t> </a:t>
            </a:r>
            <a:r>
              <a:rPr sz="1000" b="1" dirty="0">
                <a:latin typeface="Trebuchet MS"/>
                <a:cs typeface="Trebuchet MS"/>
              </a:rPr>
              <a:t>TO</a:t>
            </a:r>
            <a:r>
              <a:rPr sz="1000" b="1" spc="-37" dirty="0">
                <a:latin typeface="Trebuchet MS"/>
                <a:cs typeface="Trebuchet MS"/>
              </a:rPr>
              <a:t> </a:t>
            </a:r>
            <a:r>
              <a:rPr sz="1000" b="1" spc="-53" dirty="0">
                <a:latin typeface="Trebuchet MS"/>
                <a:cs typeface="Trebuchet MS"/>
              </a:rPr>
              <a:t>BE</a:t>
            </a:r>
            <a:r>
              <a:rPr sz="1000" b="1" spc="-40" dirty="0">
                <a:latin typeface="Trebuchet MS"/>
                <a:cs typeface="Trebuchet MS"/>
              </a:rPr>
              <a:t> </a:t>
            </a:r>
            <a:r>
              <a:rPr sz="1000" b="1" spc="-27" dirty="0">
                <a:latin typeface="Trebuchet MS"/>
                <a:cs typeface="Trebuchet MS"/>
              </a:rPr>
              <a:t>CERTIFIED</a:t>
            </a:r>
            <a:r>
              <a:rPr sz="1000" b="1" spc="-37" dirty="0">
                <a:latin typeface="Trebuchet MS"/>
                <a:cs typeface="Trebuchet MS"/>
              </a:rPr>
              <a:t> </a:t>
            </a:r>
            <a:r>
              <a:rPr sz="1000" b="1" spc="-27" dirty="0">
                <a:latin typeface="Trebuchet MS"/>
                <a:cs typeface="Trebuchet MS"/>
              </a:rPr>
              <a:t>PERINATAL</a:t>
            </a:r>
            <a:r>
              <a:rPr sz="1000" b="1" spc="-40" dirty="0">
                <a:latin typeface="Trebuchet MS"/>
                <a:cs typeface="Trebuchet MS"/>
              </a:rPr>
              <a:t> </a:t>
            </a:r>
            <a:r>
              <a:rPr sz="1000" b="1" spc="73" dirty="0">
                <a:latin typeface="Trebuchet MS"/>
                <a:cs typeface="Trebuchet MS"/>
              </a:rPr>
              <a:t>MOOD</a:t>
            </a:r>
            <a:r>
              <a:rPr sz="1000" b="1" spc="-37" dirty="0">
                <a:latin typeface="Trebuchet MS"/>
                <a:cs typeface="Trebuchet MS"/>
              </a:rPr>
              <a:t> </a:t>
            </a:r>
            <a:r>
              <a:rPr sz="1000" b="1" spc="-7" dirty="0">
                <a:latin typeface="Trebuchet MS"/>
                <a:cs typeface="Trebuchet MS"/>
              </a:rPr>
              <a:t>DISORDER </a:t>
            </a:r>
            <a:r>
              <a:rPr sz="1000" b="1" dirty="0">
                <a:latin typeface="Trebuchet MS"/>
                <a:cs typeface="Trebuchet MS"/>
              </a:rPr>
              <a:t>COUNSELOR.</a:t>
            </a:r>
            <a:r>
              <a:rPr sz="1000" b="1" spc="-33" dirty="0">
                <a:latin typeface="Trebuchet MS"/>
                <a:cs typeface="Trebuchet MS"/>
              </a:rPr>
              <a:t> </a:t>
            </a:r>
            <a:r>
              <a:rPr sz="1000" b="1" dirty="0">
                <a:latin typeface="Trebuchet MS"/>
                <a:cs typeface="Trebuchet MS"/>
              </a:rPr>
              <a:t>I</a:t>
            </a:r>
            <a:r>
              <a:rPr sz="1000" b="1" spc="-30" dirty="0">
                <a:latin typeface="Trebuchet MS"/>
                <a:cs typeface="Trebuchet MS"/>
              </a:rPr>
              <a:t> </a:t>
            </a:r>
            <a:r>
              <a:rPr sz="1000" b="1" dirty="0">
                <a:latin typeface="Trebuchet MS"/>
                <a:cs typeface="Trebuchet MS"/>
              </a:rPr>
              <a:t>BEGAN</a:t>
            </a:r>
            <a:r>
              <a:rPr sz="1000" b="1" spc="-30" dirty="0">
                <a:latin typeface="Trebuchet MS"/>
                <a:cs typeface="Trebuchet MS"/>
              </a:rPr>
              <a:t> </a:t>
            </a:r>
            <a:r>
              <a:rPr sz="1000" b="1" spc="107" dirty="0">
                <a:latin typeface="Trebuchet MS"/>
                <a:cs typeface="Trebuchet MS"/>
              </a:rPr>
              <a:t>MY</a:t>
            </a:r>
            <a:r>
              <a:rPr sz="1000" b="1" spc="-30" dirty="0">
                <a:latin typeface="Trebuchet MS"/>
                <a:cs typeface="Trebuchet MS"/>
              </a:rPr>
              <a:t> </a:t>
            </a:r>
            <a:r>
              <a:rPr sz="1000" b="1" spc="-23" dirty="0">
                <a:latin typeface="Trebuchet MS"/>
                <a:cs typeface="Trebuchet MS"/>
              </a:rPr>
              <a:t>JOURNEY</a:t>
            </a:r>
            <a:r>
              <a:rPr sz="1000" b="1" spc="-33" dirty="0">
                <a:latin typeface="Trebuchet MS"/>
                <a:cs typeface="Trebuchet MS"/>
              </a:rPr>
              <a:t> </a:t>
            </a:r>
            <a:r>
              <a:rPr sz="1000" b="1" dirty="0">
                <a:latin typeface="Trebuchet MS"/>
                <a:cs typeface="Trebuchet MS"/>
              </a:rPr>
              <a:t>INTO</a:t>
            </a:r>
            <a:r>
              <a:rPr sz="1000" b="1" spc="-30" dirty="0">
                <a:latin typeface="Trebuchet MS"/>
                <a:cs typeface="Trebuchet MS"/>
              </a:rPr>
              <a:t> </a:t>
            </a:r>
            <a:r>
              <a:rPr sz="1000" b="1" spc="-7" dirty="0">
                <a:latin typeface="Trebuchet MS"/>
                <a:cs typeface="Trebuchet MS"/>
              </a:rPr>
              <a:t>MIDWIFERY JANUARY</a:t>
            </a:r>
            <a:r>
              <a:rPr sz="1000" b="1" spc="-37" dirty="0">
                <a:latin typeface="Trebuchet MS"/>
                <a:cs typeface="Trebuchet MS"/>
              </a:rPr>
              <a:t> </a:t>
            </a:r>
            <a:r>
              <a:rPr sz="1000" b="1" spc="-67" dirty="0">
                <a:latin typeface="Trebuchet MS"/>
                <a:cs typeface="Trebuchet MS"/>
              </a:rPr>
              <a:t>8TH,</a:t>
            </a:r>
            <a:r>
              <a:rPr sz="1000" b="1" spc="-37" dirty="0">
                <a:latin typeface="Trebuchet MS"/>
                <a:cs typeface="Trebuchet MS"/>
              </a:rPr>
              <a:t> </a:t>
            </a:r>
            <a:r>
              <a:rPr sz="1000" b="1" spc="-43" dirty="0">
                <a:latin typeface="Trebuchet MS"/>
                <a:cs typeface="Trebuchet MS"/>
              </a:rPr>
              <a:t>2024,</a:t>
            </a:r>
            <a:r>
              <a:rPr sz="1000" b="1" spc="-37" dirty="0">
                <a:latin typeface="Trebuchet MS"/>
                <a:cs typeface="Trebuchet MS"/>
              </a:rPr>
              <a:t> </a:t>
            </a:r>
            <a:r>
              <a:rPr sz="1000" b="1" spc="-23" dirty="0">
                <a:latin typeface="Trebuchet MS"/>
                <a:cs typeface="Trebuchet MS"/>
              </a:rPr>
              <a:t>WITH</a:t>
            </a:r>
            <a:r>
              <a:rPr sz="1000" b="1" spc="-37" dirty="0">
                <a:latin typeface="Trebuchet MS"/>
                <a:cs typeface="Trebuchet MS"/>
              </a:rPr>
              <a:t> </a:t>
            </a:r>
            <a:r>
              <a:rPr sz="1000" b="1" spc="-57" dirty="0">
                <a:latin typeface="Trebuchet MS"/>
                <a:cs typeface="Trebuchet MS"/>
              </a:rPr>
              <a:t>THE</a:t>
            </a:r>
            <a:r>
              <a:rPr sz="1000" b="1" spc="-37" dirty="0">
                <a:latin typeface="Trebuchet MS"/>
                <a:cs typeface="Trebuchet MS"/>
              </a:rPr>
              <a:t> </a:t>
            </a:r>
            <a:r>
              <a:rPr sz="1000" b="1" spc="37" dirty="0">
                <a:latin typeface="Trebuchet MS"/>
                <a:cs typeface="Trebuchet MS"/>
              </a:rPr>
              <a:t>MIDWIVES</a:t>
            </a:r>
            <a:r>
              <a:rPr sz="1000" b="1" spc="-37" dirty="0">
                <a:latin typeface="Trebuchet MS"/>
                <a:cs typeface="Trebuchet MS"/>
              </a:rPr>
              <a:t> </a:t>
            </a:r>
            <a:r>
              <a:rPr sz="1000" b="1" dirty="0">
                <a:latin typeface="Trebuchet MS"/>
                <a:cs typeface="Trebuchet MS"/>
              </a:rPr>
              <a:t>COLLEGE</a:t>
            </a:r>
            <a:r>
              <a:rPr sz="1000" b="1" spc="-33" dirty="0">
                <a:latin typeface="Trebuchet MS"/>
                <a:cs typeface="Trebuchet MS"/>
              </a:rPr>
              <a:t> </a:t>
            </a:r>
            <a:r>
              <a:rPr sz="1000" b="1" spc="-17" dirty="0">
                <a:latin typeface="Trebuchet MS"/>
                <a:cs typeface="Trebuchet MS"/>
              </a:rPr>
              <a:t>OF </a:t>
            </a:r>
            <a:r>
              <a:rPr sz="1000" b="1" spc="-40" dirty="0">
                <a:latin typeface="Trebuchet MS"/>
                <a:cs typeface="Trebuchet MS"/>
              </a:rPr>
              <a:t>UTAH,</a:t>
            </a:r>
            <a:r>
              <a:rPr sz="1000" b="1" spc="-47" dirty="0">
                <a:latin typeface="Trebuchet MS"/>
                <a:cs typeface="Trebuchet MS"/>
              </a:rPr>
              <a:t> </a:t>
            </a:r>
            <a:r>
              <a:rPr sz="1000" b="1" spc="-37" dirty="0">
                <a:latin typeface="Trebuchet MS"/>
                <a:cs typeface="Trebuchet MS"/>
              </a:rPr>
              <a:t>WHERE</a:t>
            </a:r>
            <a:r>
              <a:rPr sz="1000" b="1" spc="-47" dirty="0">
                <a:latin typeface="Trebuchet MS"/>
                <a:cs typeface="Trebuchet MS"/>
              </a:rPr>
              <a:t> </a:t>
            </a:r>
            <a:r>
              <a:rPr sz="1000" b="1" dirty="0">
                <a:latin typeface="Trebuchet MS"/>
                <a:cs typeface="Trebuchet MS"/>
              </a:rPr>
              <a:t>I</a:t>
            </a:r>
            <a:r>
              <a:rPr sz="1000" b="1" spc="-43" dirty="0">
                <a:latin typeface="Trebuchet MS"/>
                <a:cs typeface="Trebuchet MS"/>
              </a:rPr>
              <a:t> </a:t>
            </a:r>
            <a:r>
              <a:rPr sz="1000" b="1" spc="-33" dirty="0">
                <a:latin typeface="Trebuchet MS"/>
                <a:cs typeface="Trebuchet MS"/>
              </a:rPr>
              <a:t>WILL</a:t>
            </a:r>
            <a:r>
              <a:rPr sz="1000" b="1" spc="-47" dirty="0">
                <a:latin typeface="Trebuchet MS"/>
                <a:cs typeface="Trebuchet MS"/>
              </a:rPr>
              <a:t> </a:t>
            </a:r>
            <a:r>
              <a:rPr sz="1000" b="1" spc="-53" dirty="0">
                <a:latin typeface="Trebuchet MS"/>
                <a:cs typeface="Trebuchet MS"/>
              </a:rPr>
              <a:t>BE</a:t>
            </a:r>
            <a:r>
              <a:rPr sz="1000" b="1" spc="-43" dirty="0">
                <a:latin typeface="Trebuchet MS"/>
                <a:cs typeface="Trebuchet MS"/>
              </a:rPr>
              <a:t> </a:t>
            </a:r>
            <a:r>
              <a:rPr sz="1000" b="1" dirty="0">
                <a:latin typeface="Trebuchet MS"/>
                <a:cs typeface="Trebuchet MS"/>
              </a:rPr>
              <a:t>PURSUING</a:t>
            </a:r>
            <a:r>
              <a:rPr sz="1000" b="1" spc="-47" dirty="0">
                <a:latin typeface="Trebuchet MS"/>
                <a:cs typeface="Trebuchet MS"/>
              </a:rPr>
              <a:t> </a:t>
            </a:r>
            <a:r>
              <a:rPr sz="1000" b="1" spc="50" dirty="0">
                <a:latin typeface="Trebuchet MS"/>
                <a:cs typeface="Trebuchet MS"/>
              </a:rPr>
              <a:t>A</a:t>
            </a:r>
            <a:r>
              <a:rPr sz="1000" b="1" spc="-43" dirty="0">
                <a:latin typeface="Trebuchet MS"/>
                <a:cs typeface="Trebuchet MS"/>
              </a:rPr>
              <a:t> </a:t>
            </a:r>
            <a:r>
              <a:rPr sz="1000" b="1" dirty="0">
                <a:latin typeface="Trebuchet MS"/>
                <a:cs typeface="Trebuchet MS"/>
              </a:rPr>
              <a:t>BACHELOR’S</a:t>
            </a:r>
            <a:r>
              <a:rPr sz="1000" b="1" spc="-47" dirty="0">
                <a:latin typeface="Trebuchet MS"/>
                <a:cs typeface="Trebuchet MS"/>
              </a:rPr>
              <a:t> </a:t>
            </a:r>
            <a:r>
              <a:rPr sz="1000" b="1" dirty="0">
                <a:latin typeface="Trebuchet MS"/>
                <a:cs typeface="Trebuchet MS"/>
              </a:rPr>
              <a:t>IN</a:t>
            </a:r>
            <a:r>
              <a:rPr sz="1000" b="1" spc="-43" dirty="0">
                <a:latin typeface="Trebuchet MS"/>
                <a:cs typeface="Trebuchet MS"/>
              </a:rPr>
              <a:t> </a:t>
            </a:r>
            <a:r>
              <a:rPr sz="1000" b="1" spc="-17" dirty="0">
                <a:latin typeface="Trebuchet MS"/>
                <a:cs typeface="Trebuchet MS"/>
              </a:rPr>
              <a:t>THE</a:t>
            </a:r>
            <a:endParaRPr sz="1000">
              <a:latin typeface="Trebuchet MS"/>
              <a:cs typeface="Trebuchet MS"/>
            </a:endParaRPr>
          </a:p>
          <a:p>
            <a:pPr marL="153254" marR="148174" algn="ctr">
              <a:lnSpc>
                <a:spcPct val="141700"/>
              </a:lnSpc>
            </a:pPr>
            <a:r>
              <a:rPr sz="1000" b="1" spc="33" dirty="0">
                <a:latin typeface="Trebuchet MS"/>
                <a:cs typeface="Trebuchet MS"/>
              </a:rPr>
              <a:t>SCIENCE</a:t>
            </a:r>
            <a:r>
              <a:rPr sz="1000" b="1" spc="-53" dirty="0">
                <a:latin typeface="Trebuchet MS"/>
                <a:cs typeface="Trebuchet MS"/>
              </a:rPr>
              <a:t> </a:t>
            </a:r>
            <a:r>
              <a:rPr sz="1000" b="1" dirty="0">
                <a:latin typeface="Trebuchet MS"/>
                <a:cs typeface="Trebuchet MS"/>
              </a:rPr>
              <a:t>OF</a:t>
            </a:r>
            <a:r>
              <a:rPr sz="1000" b="1" spc="-50" dirty="0">
                <a:latin typeface="Trebuchet MS"/>
                <a:cs typeface="Trebuchet MS"/>
              </a:rPr>
              <a:t> </a:t>
            </a:r>
            <a:r>
              <a:rPr sz="1000" b="1" spc="-7" dirty="0">
                <a:latin typeface="Trebuchet MS"/>
                <a:cs typeface="Trebuchet MS"/>
              </a:rPr>
              <a:t>MIDWIFERY.</a:t>
            </a:r>
            <a:r>
              <a:rPr sz="1000" b="1" spc="-50" dirty="0">
                <a:latin typeface="Trebuchet MS"/>
                <a:cs typeface="Trebuchet MS"/>
              </a:rPr>
              <a:t> </a:t>
            </a:r>
            <a:r>
              <a:rPr sz="1000" b="1" spc="-30" dirty="0">
                <a:latin typeface="Trebuchet MS"/>
                <a:cs typeface="Trebuchet MS"/>
              </a:rPr>
              <a:t>I’VE</a:t>
            </a:r>
            <a:r>
              <a:rPr sz="1000" b="1" spc="-50" dirty="0">
                <a:latin typeface="Trebuchet MS"/>
                <a:cs typeface="Trebuchet MS"/>
              </a:rPr>
              <a:t> </a:t>
            </a:r>
            <a:r>
              <a:rPr sz="1000" b="1" spc="43" dirty="0">
                <a:latin typeface="Trebuchet MS"/>
                <a:cs typeface="Trebuchet MS"/>
              </a:rPr>
              <a:t>HAS</a:t>
            </a:r>
            <a:r>
              <a:rPr sz="1000" b="1" spc="-50" dirty="0">
                <a:latin typeface="Trebuchet MS"/>
                <a:cs typeface="Trebuchet MS"/>
              </a:rPr>
              <a:t> </a:t>
            </a:r>
            <a:r>
              <a:rPr sz="1000" b="1" spc="-7" dirty="0">
                <a:latin typeface="Trebuchet MS"/>
                <a:cs typeface="Trebuchet MS"/>
              </a:rPr>
              <a:t>WORKED</a:t>
            </a:r>
            <a:r>
              <a:rPr sz="1000" b="1" spc="-50" dirty="0">
                <a:latin typeface="Trebuchet MS"/>
                <a:cs typeface="Trebuchet MS"/>
              </a:rPr>
              <a:t> </a:t>
            </a:r>
            <a:r>
              <a:rPr sz="1000" b="1" dirty="0">
                <a:latin typeface="Trebuchet MS"/>
                <a:cs typeface="Trebuchet MS"/>
              </a:rPr>
              <a:t>IN</a:t>
            </a:r>
            <a:r>
              <a:rPr sz="1000" b="1" spc="-50" dirty="0">
                <a:latin typeface="Trebuchet MS"/>
                <a:cs typeface="Trebuchet MS"/>
              </a:rPr>
              <a:t> </a:t>
            </a:r>
            <a:r>
              <a:rPr sz="1000" b="1" spc="-17" dirty="0">
                <a:latin typeface="Trebuchet MS"/>
                <a:cs typeface="Trebuchet MS"/>
              </a:rPr>
              <a:t>THE </a:t>
            </a:r>
            <a:r>
              <a:rPr sz="1000" b="1" spc="30" dirty="0">
                <a:latin typeface="Trebuchet MS"/>
                <a:cs typeface="Trebuchet MS"/>
              </a:rPr>
              <a:t>MEDICAL</a:t>
            </a:r>
            <a:r>
              <a:rPr sz="1000" b="1" spc="-30" dirty="0">
                <a:latin typeface="Trebuchet MS"/>
                <a:cs typeface="Trebuchet MS"/>
              </a:rPr>
              <a:t> </a:t>
            </a:r>
            <a:r>
              <a:rPr sz="1000" b="1" spc="-47" dirty="0">
                <a:latin typeface="Trebuchet MS"/>
                <a:cs typeface="Trebuchet MS"/>
              </a:rPr>
              <a:t>FIELD</a:t>
            </a:r>
            <a:r>
              <a:rPr sz="1000" b="1" spc="-30" dirty="0">
                <a:latin typeface="Trebuchet MS"/>
                <a:cs typeface="Trebuchet MS"/>
              </a:rPr>
              <a:t> FOR </a:t>
            </a:r>
            <a:r>
              <a:rPr sz="1000" b="1" spc="-169" dirty="0">
                <a:latin typeface="Trebuchet MS"/>
                <a:cs typeface="Trebuchet MS"/>
              </a:rPr>
              <a:t>13</a:t>
            </a:r>
            <a:r>
              <a:rPr sz="1000" b="1" spc="-30" dirty="0">
                <a:latin typeface="Trebuchet MS"/>
                <a:cs typeface="Trebuchet MS"/>
              </a:rPr>
              <a:t> </a:t>
            </a:r>
            <a:r>
              <a:rPr sz="1000" b="1" dirty="0">
                <a:latin typeface="Trebuchet MS"/>
                <a:cs typeface="Trebuchet MS"/>
              </a:rPr>
              <a:t>YEARS</a:t>
            </a:r>
            <a:r>
              <a:rPr sz="1000" b="1" spc="-30" dirty="0">
                <a:latin typeface="Trebuchet MS"/>
                <a:cs typeface="Trebuchet MS"/>
              </a:rPr>
              <a:t> </a:t>
            </a:r>
            <a:r>
              <a:rPr sz="1000" b="1" dirty="0">
                <a:latin typeface="Trebuchet MS"/>
                <a:cs typeface="Trebuchet MS"/>
              </a:rPr>
              <a:t>(PRIMARY</a:t>
            </a:r>
            <a:r>
              <a:rPr sz="1000" b="1" spc="-27" dirty="0">
                <a:latin typeface="Trebuchet MS"/>
                <a:cs typeface="Trebuchet MS"/>
              </a:rPr>
              <a:t> </a:t>
            </a:r>
            <a:r>
              <a:rPr sz="1000" b="1" spc="-13" dirty="0">
                <a:latin typeface="Trebuchet MS"/>
                <a:cs typeface="Trebuchet MS"/>
              </a:rPr>
              <a:t>CARE,</a:t>
            </a:r>
            <a:r>
              <a:rPr sz="1000" b="1" spc="-30" dirty="0">
                <a:latin typeface="Trebuchet MS"/>
                <a:cs typeface="Trebuchet MS"/>
              </a:rPr>
              <a:t> </a:t>
            </a:r>
            <a:r>
              <a:rPr sz="1000" b="1" spc="-7" dirty="0">
                <a:latin typeface="Trebuchet MS"/>
                <a:cs typeface="Trebuchet MS"/>
              </a:rPr>
              <a:t>TRAUMA, </a:t>
            </a:r>
            <a:r>
              <a:rPr sz="1000" b="1" dirty="0">
                <a:latin typeface="Trebuchet MS"/>
                <a:cs typeface="Trebuchet MS"/>
              </a:rPr>
              <a:t>PSYCH,</a:t>
            </a:r>
            <a:r>
              <a:rPr sz="1000" b="1" spc="-37" dirty="0">
                <a:latin typeface="Trebuchet MS"/>
                <a:cs typeface="Trebuchet MS"/>
              </a:rPr>
              <a:t> </a:t>
            </a:r>
            <a:r>
              <a:rPr sz="1000" b="1" spc="-63" dirty="0">
                <a:latin typeface="Trebuchet MS"/>
                <a:cs typeface="Trebuchet MS"/>
              </a:rPr>
              <a:t>ER</a:t>
            </a:r>
            <a:r>
              <a:rPr sz="1000" b="1" spc="-37" dirty="0">
                <a:latin typeface="Trebuchet MS"/>
                <a:cs typeface="Trebuchet MS"/>
              </a:rPr>
              <a:t> </a:t>
            </a:r>
            <a:r>
              <a:rPr sz="1000" b="1" dirty="0">
                <a:latin typeface="Trebuchet MS"/>
                <a:cs typeface="Trebuchet MS"/>
              </a:rPr>
              <a:t>AND</a:t>
            </a:r>
            <a:r>
              <a:rPr sz="1000" b="1" spc="-37" dirty="0">
                <a:latin typeface="Trebuchet MS"/>
                <a:cs typeface="Trebuchet MS"/>
              </a:rPr>
              <a:t> </a:t>
            </a:r>
            <a:r>
              <a:rPr sz="1000" b="1" spc="-17" dirty="0">
                <a:latin typeface="Trebuchet MS"/>
                <a:cs typeface="Trebuchet MS"/>
              </a:rPr>
              <a:t>BIRTHING</a:t>
            </a:r>
            <a:r>
              <a:rPr sz="1000" b="1" spc="-37" dirty="0">
                <a:latin typeface="Trebuchet MS"/>
                <a:cs typeface="Trebuchet MS"/>
              </a:rPr>
              <a:t> </a:t>
            </a:r>
            <a:r>
              <a:rPr sz="1000" b="1" spc="-47" dirty="0">
                <a:latin typeface="Trebuchet MS"/>
                <a:cs typeface="Trebuchet MS"/>
              </a:rPr>
              <a:t>UNIT).</a:t>
            </a:r>
            <a:r>
              <a:rPr sz="1000" b="1" spc="-37" dirty="0">
                <a:latin typeface="Trebuchet MS"/>
                <a:cs typeface="Trebuchet MS"/>
              </a:rPr>
              <a:t> </a:t>
            </a:r>
            <a:r>
              <a:rPr sz="1000" b="1" dirty="0">
                <a:latin typeface="Trebuchet MS"/>
                <a:cs typeface="Trebuchet MS"/>
              </a:rPr>
              <a:t>I</a:t>
            </a:r>
            <a:r>
              <a:rPr sz="1000" b="1" spc="-37" dirty="0">
                <a:latin typeface="Trebuchet MS"/>
                <a:cs typeface="Trebuchet MS"/>
              </a:rPr>
              <a:t> </a:t>
            </a:r>
            <a:r>
              <a:rPr sz="1000" b="1" dirty="0">
                <a:latin typeface="Trebuchet MS"/>
                <a:cs typeface="Trebuchet MS"/>
              </a:rPr>
              <a:t>SERVE</a:t>
            </a:r>
            <a:r>
              <a:rPr sz="1000" b="1" spc="-37" dirty="0">
                <a:latin typeface="Trebuchet MS"/>
                <a:cs typeface="Trebuchet MS"/>
              </a:rPr>
              <a:t> </a:t>
            </a:r>
            <a:r>
              <a:rPr sz="1000" b="1" spc="83" dirty="0">
                <a:latin typeface="Trebuchet MS"/>
                <a:cs typeface="Trebuchet MS"/>
              </a:rPr>
              <a:t>AS</a:t>
            </a:r>
            <a:r>
              <a:rPr sz="1000" b="1" spc="-37" dirty="0">
                <a:latin typeface="Trebuchet MS"/>
                <a:cs typeface="Trebuchet MS"/>
              </a:rPr>
              <a:t> </a:t>
            </a:r>
            <a:r>
              <a:rPr sz="1000" b="1" spc="50" dirty="0">
                <a:latin typeface="Trebuchet MS"/>
                <a:cs typeface="Trebuchet MS"/>
              </a:rPr>
              <a:t>A</a:t>
            </a:r>
            <a:r>
              <a:rPr sz="1000" b="1" spc="-33" dirty="0">
                <a:latin typeface="Trebuchet MS"/>
                <a:cs typeface="Trebuchet MS"/>
              </a:rPr>
              <a:t> </a:t>
            </a:r>
            <a:r>
              <a:rPr sz="1000" b="1" spc="-30" dirty="0">
                <a:latin typeface="Trebuchet MS"/>
                <a:cs typeface="Trebuchet MS"/>
              </a:rPr>
              <a:t>BI</a:t>
            </a:r>
            <a:r>
              <a:rPr sz="1000" b="1" spc="-37" dirty="0">
                <a:latin typeface="Trebuchet MS"/>
                <a:cs typeface="Trebuchet MS"/>
              </a:rPr>
              <a:t> </a:t>
            </a:r>
            <a:r>
              <a:rPr sz="1000" b="1" spc="-7" dirty="0">
                <a:latin typeface="Trebuchet MS"/>
                <a:cs typeface="Trebuchet MS"/>
              </a:rPr>
              <a:t>STATE </a:t>
            </a:r>
            <a:r>
              <a:rPr sz="1000" b="1" dirty="0">
                <a:latin typeface="Trebuchet MS"/>
                <a:cs typeface="Trebuchet MS"/>
              </a:rPr>
              <a:t>MATERNAL</a:t>
            </a:r>
            <a:r>
              <a:rPr sz="1000" b="1" spc="10" dirty="0">
                <a:latin typeface="Trebuchet MS"/>
                <a:cs typeface="Trebuchet MS"/>
              </a:rPr>
              <a:t> </a:t>
            </a:r>
            <a:r>
              <a:rPr sz="1000" b="1" dirty="0">
                <a:latin typeface="Trebuchet MS"/>
                <a:cs typeface="Trebuchet MS"/>
              </a:rPr>
              <a:t>AND</a:t>
            </a:r>
            <a:r>
              <a:rPr sz="1000" b="1" spc="13" dirty="0">
                <a:latin typeface="Trebuchet MS"/>
                <a:cs typeface="Trebuchet MS"/>
              </a:rPr>
              <a:t> </a:t>
            </a:r>
            <a:r>
              <a:rPr sz="1000" b="1" spc="-23" dirty="0">
                <a:latin typeface="Trebuchet MS"/>
                <a:cs typeface="Trebuchet MS"/>
              </a:rPr>
              <a:t>INFANT</a:t>
            </a:r>
            <a:r>
              <a:rPr sz="1000" b="1" spc="13" dirty="0">
                <a:latin typeface="Trebuchet MS"/>
                <a:cs typeface="Trebuchet MS"/>
              </a:rPr>
              <a:t> </a:t>
            </a:r>
            <a:r>
              <a:rPr sz="1000" b="1" spc="-40" dirty="0">
                <a:latin typeface="Trebuchet MS"/>
                <a:cs typeface="Trebuchet MS"/>
              </a:rPr>
              <a:t>HEALTH</a:t>
            </a:r>
            <a:r>
              <a:rPr sz="1000" b="1" spc="13" dirty="0">
                <a:latin typeface="Trebuchet MS"/>
                <a:cs typeface="Trebuchet MS"/>
              </a:rPr>
              <a:t> </a:t>
            </a:r>
            <a:r>
              <a:rPr sz="1000" b="1" dirty="0">
                <a:latin typeface="Trebuchet MS"/>
                <a:cs typeface="Trebuchet MS"/>
              </a:rPr>
              <a:t>ADVOCATE</a:t>
            </a:r>
            <a:r>
              <a:rPr sz="1000" b="1" spc="13" dirty="0">
                <a:latin typeface="Trebuchet MS"/>
                <a:cs typeface="Trebuchet MS"/>
              </a:rPr>
              <a:t> </a:t>
            </a:r>
            <a:r>
              <a:rPr sz="1000" b="1" spc="-13" dirty="0">
                <a:latin typeface="Trebuchet MS"/>
                <a:cs typeface="Trebuchet MS"/>
              </a:rPr>
              <a:t>WITH </a:t>
            </a:r>
            <a:r>
              <a:rPr sz="1000" b="1" spc="37" dirty="0">
                <a:latin typeface="Trebuchet MS"/>
                <a:cs typeface="Trebuchet MS"/>
              </a:rPr>
              <a:t>EMPHASIS</a:t>
            </a:r>
            <a:r>
              <a:rPr sz="1000" b="1" spc="-30" dirty="0">
                <a:latin typeface="Trebuchet MS"/>
                <a:cs typeface="Trebuchet MS"/>
              </a:rPr>
              <a:t> </a:t>
            </a:r>
            <a:r>
              <a:rPr sz="1000" b="1" dirty="0">
                <a:latin typeface="Trebuchet MS"/>
                <a:cs typeface="Trebuchet MS"/>
              </a:rPr>
              <a:t>ON</a:t>
            </a:r>
            <a:r>
              <a:rPr sz="1000" b="1" spc="-27" dirty="0">
                <a:latin typeface="Trebuchet MS"/>
                <a:cs typeface="Trebuchet MS"/>
              </a:rPr>
              <a:t> </a:t>
            </a:r>
            <a:r>
              <a:rPr sz="1000" b="1" dirty="0">
                <a:latin typeface="Trebuchet MS"/>
                <a:cs typeface="Trebuchet MS"/>
              </a:rPr>
              <a:t>BLACK</a:t>
            </a:r>
            <a:r>
              <a:rPr sz="1000" b="1" spc="-30" dirty="0">
                <a:latin typeface="Trebuchet MS"/>
                <a:cs typeface="Trebuchet MS"/>
              </a:rPr>
              <a:t> </a:t>
            </a:r>
            <a:r>
              <a:rPr sz="1000" b="1" dirty="0">
                <a:latin typeface="Trebuchet MS"/>
                <a:cs typeface="Trebuchet MS"/>
              </a:rPr>
              <a:t>MATERNAL</a:t>
            </a:r>
            <a:r>
              <a:rPr sz="1000" b="1" spc="-27" dirty="0">
                <a:latin typeface="Trebuchet MS"/>
                <a:cs typeface="Trebuchet MS"/>
              </a:rPr>
              <a:t> </a:t>
            </a:r>
            <a:r>
              <a:rPr sz="1000" b="1" spc="-43" dirty="0">
                <a:latin typeface="Trebuchet MS"/>
                <a:cs typeface="Trebuchet MS"/>
              </a:rPr>
              <a:t>HEALTH.</a:t>
            </a:r>
            <a:r>
              <a:rPr sz="1000" b="1" spc="-30" dirty="0">
                <a:latin typeface="Trebuchet MS"/>
                <a:cs typeface="Trebuchet MS"/>
              </a:rPr>
              <a:t> </a:t>
            </a:r>
            <a:r>
              <a:rPr sz="1000" b="1" dirty="0">
                <a:latin typeface="Trebuchet MS"/>
                <a:cs typeface="Trebuchet MS"/>
              </a:rPr>
              <a:t>I</a:t>
            </a:r>
            <a:r>
              <a:rPr sz="1000" b="1" spc="-27" dirty="0">
                <a:latin typeface="Trebuchet MS"/>
                <a:cs typeface="Trebuchet MS"/>
              </a:rPr>
              <a:t> </a:t>
            </a:r>
            <a:r>
              <a:rPr sz="1000" b="1" spc="110" dirty="0">
                <a:latin typeface="Trebuchet MS"/>
                <a:cs typeface="Trebuchet MS"/>
              </a:rPr>
              <a:t>AM</a:t>
            </a:r>
            <a:r>
              <a:rPr sz="1000" b="1" spc="-30" dirty="0">
                <a:latin typeface="Trebuchet MS"/>
                <a:cs typeface="Trebuchet MS"/>
              </a:rPr>
              <a:t> </a:t>
            </a:r>
            <a:r>
              <a:rPr sz="1000" b="1" spc="-17" dirty="0">
                <a:latin typeface="Trebuchet MS"/>
                <a:cs typeface="Trebuchet MS"/>
              </a:rPr>
              <a:t>THE </a:t>
            </a:r>
            <a:r>
              <a:rPr sz="1000" b="1" spc="-27" dirty="0">
                <a:latin typeface="Trebuchet MS"/>
                <a:cs typeface="Trebuchet MS"/>
              </a:rPr>
              <a:t>FOUNDER</a:t>
            </a:r>
            <a:r>
              <a:rPr sz="1000" b="1" spc="-23" dirty="0">
                <a:latin typeface="Trebuchet MS"/>
                <a:cs typeface="Trebuchet MS"/>
              </a:rPr>
              <a:t> </a:t>
            </a:r>
            <a:r>
              <a:rPr sz="1000" b="1" dirty="0">
                <a:latin typeface="Trebuchet MS"/>
                <a:cs typeface="Trebuchet MS"/>
              </a:rPr>
              <a:t>OF</a:t>
            </a:r>
            <a:r>
              <a:rPr sz="1000" b="1" spc="-20" dirty="0">
                <a:latin typeface="Trebuchet MS"/>
                <a:cs typeface="Trebuchet MS"/>
              </a:rPr>
              <a:t> </a:t>
            </a:r>
            <a:r>
              <a:rPr sz="1000" b="1" spc="-57" dirty="0">
                <a:latin typeface="Trebuchet MS"/>
                <a:cs typeface="Trebuchet MS"/>
              </a:rPr>
              <a:t>THE</a:t>
            </a:r>
            <a:r>
              <a:rPr sz="1000" b="1" spc="-23" dirty="0">
                <a:latin typeface="Trebuchet MS"/>
                <a:cs typeface="Trebuchet MS"/>
              </a:rPr>
              <a:t> </a:t>
            </a:r>
            <a:r>
              <a:rPr sz="1000" b="1" dirty="0">
                <a:latin typeface="Trebuchet MS"/>
                <a:cs typeface="Trebuchet MS"/>
              </a:rPr>
              <a:t>DOULA</a:t>
            </a:r>
            <a:r>
              <a:rPr sz="1000" b="1" spc="-20" dirty="0">
                <a:latin typeface="Trebuchet MS"/>
                <a:cs typeface="Trebuchet MS"/>
              </a:rPr>
              <a:t> </a:t>
            </a:r>
            <a:r>
              <a:rPr sz="1000" b="1" spc="-23" dirty="0">
                <a:latin typeface="Trebuchet MS"/>
                <a:cs typeface="Trebuchet MS"/>
              </a:rPr>
              <a:t>LAB </a:t>
            </a:r>
            <a:r>
              <a:rPr sz="1000" b="1" dirty="0">
                <a:latin typeface="Trebuchet MS"/>
                <a:cs typeface="Trebuchet MS"/>
              </a:rPr>
              <a:t>PREGNANCY</a:t>
            </a:r>
            <a:r>
              <a:rPr sz="1000" b="1" spc="-20" dirty="0">
                <a:latin typeface="Trebuchet MS"/>
                <a:cs typeface="Trebuchet MS"/>
              </a:rPr>
              <a:t> </a:t>
            </a:r>
            <a:r>
              <a:rPr sz="1000" b="1" spc="-7" dirty="0">
                <a:latin typeface="Trebuchet MS"/>
                <a:cs typeface="Trebuchet MS"/>
              </a:rPr>
              <a:t>RESOURCE </a:t>
            </a:r>
            <a:r>
              <a:rPr sz="1000" b="1" spc="-20" dirty="0">
                <a:latin typeface="Trebuchet MS"/>
                <a:cs typeface="Trebuchet MS"/>
              </a:rPr>
              <a:t>CENTER</a:t>
            </a:r>
            <a:r>
              <a:rPr sz="1000" b="1" spc="-40" dirty="0">
                <a:latin typeface="Trebuchet MS"/>
                <a:cs typeface="Trebuchet MS"/>
              </a:rPr>
              <a:t> </a:t>
            </a:r>
            <a:r>
              <a:rPr sz="1000" b="1" dirty="0">
                <a:latin typeface="Trebuchet MS"/>
                <a:cs typeface="Trebuchet MS"/>
              </a:rPr>
              <a:t>LOCATED</a:t>
            </a:r>
            <a:r>
              <a:rPr sz="1000" b="1" spc="-37" dirty="0">
                <a:latin typeface="Trebuchet MS"/>
                <a:cs typeface="Trebuchet MS"/>
              </a:rPr>
              <a:t> </a:t>
            </a:r>
            <a:r>
              <a:rPr sz="1000" b="1" dirty="0">
                <a:latin typeface="Trebuchet MS"/>
                <a:cs typeface="Trebuchet MS"/>
              </a:rPr>
              <a:t>IN</a:t>
            </a:r>
            <a:r>
              <a:rPr sz="1000" b="1" spc="-37" dirty="0">
                <a:latin typeface="Trebuchet MS"/>
                <a:cs typeface="Trebuchet MS"/>
              </a:rPr>
              <a:t> </a:t>
            </a:r>
            <a:r>
              <a:rPr sz="1000" b="1" spc="-53" dirty="0">
                <a:latin typeface="Trebuchet MS"/>
                <a:cs typeface="Trebuchet MS"/>
              </a:rPr>
              <a:t>BELLEVILLE,</a:t>
            </a:r>
            <a:r>
              <a:rPr sz="1000" b="1" spc="-37" dirty="0">
                <a:latin typeface="Trebuchet MS"/>
                <a:cs typeface="Trebuchet MS"/>
              </a:rPr>
              <a:t> </a:t>
            </a:r>
            <a:r>
              <a:rPr sz="1000" b="1" spc="-7" dirty="0">
                <a:latin typeface="Trebuchet MS"/>
                <a:cs typeface="Trebuchet MS"/>
              </a:rPr>
              <a:t>ILLINOIS.</a:t>
            </a:r>
            <a:r>
              <a:rPr sz="1000" b="1" spc="-37" dirty="0">
                <a:latin typeface="Trebuchet MS"/>
                <a:cs typeface="Trebuchet MS"/>
              </a:rPr>
              <a:t> </a:t>
            </a:r>
            <a:r>
              <a:rPr sz="1000" b="1" spc="83" dirty="0">
                <a:latin typeface="Trebuchet MS"/>
                <a:cs typeface="Trebuchet MS"/>
              </a:rPr>
              <a:t>AS</a:t>
            </a:r>
            <a:r>
              <a:rPr sz="1000" b="1" spc="-37" dirty="0">
                <a:latin typeface="Trebuchet MS"/>
                <a:cs typeface="Trebuchet MS"/>
              </a:rPr>
              <a:t> </a:t>
            </a:r>
            <a:r>
              <a:rPr sz="1000" b="1" spc="-47" dirty="0">
                <a:latin typeface="Trebuchet MS"/>
                <a:cs typeface="Trebuchet MS"/>
              </a:rPr>
              <a:t>WELL</a:t>
            </a:r>
            <a:r>
              <a:rPr sz="1000" b="1" spc="-37" dirty="0">
                <a:latin typeface="Trebuchet MS"/>
                <a:cs typeface="Trebuchet MS"/>
              </a:rPr>
              <a:t> </a:t>
            </a:r>
            <a:r>
              <a:rPr sz="1000" b="1" spc="67" dirty="0">
                <a:latin typeface="Trebuchet MS"/>
                <a:cs typeface="Trebuchet MS"/>
              </a:rPr>
              <a:t>AS </a:t>
            </a:r>
            <a:r>
              <a:rPr sz="1000" b="1" spc="-7" dirty="0">
                <a:latin typeface="Trebuchet MS"/>
                <a:cs typeface="Trebuchet MS"/>
              </a:rPr>
              <a:t>OWNER</a:t>
            </a:r>
            <a:r>
              <a:rPr sz="1000" b="1" spc="-50" dirty="0">
                <a:latin typeface="Trebuchet MS"/>
                <a:cs typeface="Trebuchet MS"/>
              </a:rPr>
              <a:t> </a:t>
            </a:r>
            <a:r>
              <a:rPr sz="1000" b="1" dirty="0">
                <a:latin typeface="Trebuchet MS"/>
                <a:cs typeface="Trebuchet MS"/>
              </a:rPr>
              <a:t>OF</a:t>
            </a:r>
            <a:r>
              <a:rPr sz="1000" b="1" spc="-47" dirty="0">
                <a:latin typeface="Trebuchet MS"/>
                <a:cs typeface="Trebuchet MS"/>
              </a:rPr>
              <a:t> </a:t>
            </a:r>
            <a:r>
              <a:rPr sz="1000" b="1" dirty="0">
                <a:latin typeface="Trebuchet MS"/>
                <a:cs typeface="Trebuchet MS"/>
              </a:rPr>
              <a:t>DOULA</a:t>
            </a:r>
            <a:r>
              <a:rPr sz="1000" b="1" spc="-47" dirty="0">
                <a:latin typeface="Trebuchet MS"/>
                <a:cs typeface="Trebuchet MS"/>
              </a:rPr>
              <a:t> </a:t>
            </a:r>
            <a:r>
              <a:rPr sz="1000" b="1" spc="-13" dirty="0">
                <a:latin typeface="Trebuchet MS"/>
                <a:cs typeface="Trebuchet MS"/>
              </a:rPr>
              <a:t>BEAN</a:t>
            </a:r>
            <a:r>
              <a:rPr sz="1000" b="1" spc="-47" dirty="0">
                <a:latin typeface="Trebuchet MS"/>
                <a:cs typeface="Trebuchet MS"/>
              </a:rPr>
              <a:t> </a:t>
            </a:r>
            <a:r>
              <a:rPr sz="1000" b="1" dirty="0">
                <a:latin typeface="Trebuchet MS"/>
                <a:cs typeface="Trebuchet MS"/>
              </a:rPr>
              <a:t>MATERNAL</a:t>
            </a:r>
            <a:r>
              <a:rPr sz="1000" b="1" spc="-47" dirty="0">
                <a:latin typeface="Trebuchet MS"/>
                <a:cs typeface="Trebuchet MS"/>
              </a:rPr>
              <a:t> </a:t>
            </a:r>
            <a:r>
              <a:rPr sz="1000" b="1" spc="-13" dirty="0">
                <a:latin typeface="Trebuchet MS"/>
                <a:cs typeface="Trebuchet MS"/>
              </a:rPr>
              <a:t>CARE,</a:t>
            </a:r>
            <a:r>
              <a:rPr sz="1000" b="1" spc="-50" dirty="0">
                <a:latin typeface="Trebuchet MS"/>
                <a:cs typeface="Trebuchet MS"/>
              </a:rPr>
              <a:t> </a:t>
            </a:r>
            <a:r>
              <a:rPr sz="1000" b="1" spc="-27" dirty="0">
                <a:latin typeface="Trebuchet MS"/>
                <a:cs typeface="Trebuchet MS"/>
              </a:rPr>
              <a:t>LLC.</a:t>
            </a:r>
            <a:r>
              <a:rPr sz="1000" b="1" spc="-47" dirty="0">
                <a:latin typeface="Trebuchet MS"/>
                <a:cs typeface="Trebuchet MS"/>
              </a:rPr>
              <a:t> </a:t>
            </a:r>
            <a:r>
              <a:rPr sz="1000" b="1" spc="90" dirty="0">
                <a:latin typeface="Trebuchet MS"/>
                <a:cs typeface="Trebuchet MS"/>
              </a:rPr>
              <a:t>MY</a:t>
            </a:r>
            <a:r>
              <a:rPr sz="1000" b="1" spc="333" dirty="0">
                <a:latin typeface="Trebuchet MS"/>
                <a:cs typeface="Trebuchet MS"/>
              </a:rPr>
              <a:t> </a:t>
            </a:r>
            <a:r>
              <a:rPr sz="1000" b="1" spc="40" dirty="0">
                <a:latin typeface="Trebuchet MS"/>
                <a:cs typeface="Trebuchet MS"/>
              </a:rPr>
              <a:t>GOAL</a:t>
            </a:r>
            <a:r>
              <a:rPr sz="1000" b="1" spc="-43" dirty="0">
                <a:latin typeface="Trebuchet MS"/>
                <a:cs typeface="Trebuchet MS"/>
              </a:rPr>
              <a:t> </a:t>
            </a:r>
            <a:r>
              <a:rPr sz="1000" b="1" spc="53" dirty="0">
                <a:latin typeface="Trebuchet MS"/>
                <a:cs typeface="Trebuchet MS"/>
              </a:rPr>
              <a:t>IS</a:t>
            </a:r>
            <a:r>
              <a:rPr sz="1000" b="1" spc="-43" dirty="0">
                <a:latin typeface="Trebuchet MS"/>
                <a:cs typeface="Trebuchet MS"/>
              </a:rPr>
              <a:t> </a:t>
            </a:r>
            <a:r>
              <a:rPr sz="1000" b="1" dirty="0">
                <a:latin typeface="Trebuchet MS"/>
                <a:cs typeface="Trebuchet MS"/>
              </a:rPr>
              <a:t>TO</a:t>
            </a:r>
            <a:r>
              <a:rPr sz="1000" b="1" spc="-40" dirty="0">
                <a:latin typeface="Trebuchet MS"/>
                <a:cs typeface="Trebuchet MS"/>
              </a:rPr>
              <a:t> </a:t>
            </a:r>
            <a:r>
              <a:rPr sz="1000" b="1" spc="33" dirty="0">
                <a:latin typeface="Trebuchet MS"/>
                <a:cs typeface="Trebuchet MS"/>
              </a:rPr>
              <a:t>BECOME</a:t>
            </a:r>
            <a:r>
              <a:rPr sz="1000" b="1" spc="-43" dirty="0">
                <a:latin typeface="Trebuchet MS"/>
                <a:cs typeface="Trebuchet MS"/>
              </a:rPr>
              <a:t> </a:t>
            </a:r>
            <a:r>
              <a:rPr sz="1000" b="1" spc="50" dirty="0">
                <a:latin typeface="Trebuchet MS"/>
                <a:cs typeface="Trebuchet MS"/>
              </a:rPr>
              <a:t>A</a:t>
            </a:r>
            <a:r>
              <a:rPr sz="1000" b="1" spc="-40" dirty="0">
                <a:latin typeface="Trebuchet MS"/>
                <a:cs typeface="Trebuchet MS"/>
              </a:rPr>
              <a:t> </a:t>
            </a:r>
            <a:r>
              <a:rPr sz="1000" b="1" dirty="0">
                <a:latin typeface="Trebuchet MS"/>
                <a:cs typeface="Trebuchet MS"/>
              </a:rPr>
              <a:t>MIDWIFE</a:t>
            </a:r>
            <a:r>
              <a:rPr sz="1000" b="1" spc="-43" dirty="0">
                <a:latin typeface="Trebuchet MS"/>
                <a:cs typeface="Trebuchet MS"/>
              </a:rPr>
              <a:t> </a:t>
            </a:r>
            <a:r>
              <a:rPr sz="1000" b="1" dirty="0">
                <a:latin typeface="Trebuchet MS"/>
                <a:cs typeface="Trebuchet MS"/>
              </a:rPr>
              <a:t>AND</a:t>
            </a:r>
            <a:r>
              <a:rPr sz="1000" b="1" spc="-40" dirty="0">
                <a:latin typeface="Trebuchet MS"/>
                <a:cs typeface="Trebuchet MS"/>
              </a:rPr>
              <a:t> </a:t>
            </a:r>
            <a:r>
              <a:rPr sz="1000" b="1" spc="-13" dirty="0">
                <a:latin typeface="Trebuchet MS"/>
                <a:cs typeface="Trebuchet MS"/>
              </a:rPr>
              <a:t>OPEN</a:t>
            </a:r>
            <a:r>
              <a:rPr sz="1000" b="1" spc="-43" dirty="0">
                <a:latin typeface="Trebuchet MS"/>
                <a:cs typeface="Trebuchet MS"/>
              </a:rPr>
              <a:t> </a:t>
            </a:r>
            <a:r>
              <a:rPr sz="1000" b="1" spc="50" dirty="0">
                <a:latin typeface="Trebuchet MS"/>
                <a:cs typeface="Trebuchet MS"/>
              </a:rPr>
              <a:t>A</a:t>
            </a:r>
            <a:r>
              <a:rPr sz="1000" b="1" spc="-40" dirty="0">
                <a:latin typeface="Trebuchet MS"/>
                <a:cs typeface="Trebuchet MS"/>
              </a:rPr>
              <a:t> </a:t>
            </a:r>
            <a:r>
              <a:rPr sz="1000" b="1" spc="-7" dirty="0">
                <a:latin typeface="Trebuchet MS"/>
                <a:cs typeface="Trebuchet MS"/>
              </a:rPr>
              <a:t>FREE- </a:t>
            </a:r>
            <a:r>
              <a:rPr sz="1000" b="1" dirty="0">
                <a:latin typeface="Trebuchet MS"/>
                <a:cs typeface="Trebuchet MS"/>
              </a:rPr>
              <a:t>STANDING</a:t>
            </a:r>
            <a:r>
              <a:rPr sz="1000" b="1" spc="-23" dirty="0">
                <a:latin typeface="Trebuchet MS"/>
                <a:cs typeface="Trebuchet MS"/>
              </a:rPr>
              <a:t> </a:t>
            </a:r>
            <a:r>
              <a:rPr sz="1000" b="1" spc="-17" dirty="0">
                <a:latin typeface="Trebuchet MS"/>
                <a:cs typeface="Trebuchet MS"/>
              </a:rPr>
              <a:t>BIRTHING</a:t>
            </a:r>
            <a:r>
              <a:rPr sz="1000" b="1" spc="-20" dirty="0">
                <a:latin typeface="Trebuchet MS"/>
                <a:cs typeface="Trebuchet MS"/>
              </a:rPr>
              <a:t> CENTER</a:t>
            </a:r>
            <a:r>
              <a:rPr sz="1000" b="1" spc="-23" dirty="0">
                <a:latin typeface="Trebuchet MS"/>
                <a:cs typeface="Trebuchet MS"/>
              </a:rPr>
              <a:t> </a:t>
            </a:r>
            <a:r>
              <a:rPr sz="1000" b="1" dirty="0">
                <a:latin typeface="Trebuchet MS"/>
                <a:cs typeface="Trebuchet MS"/>
              </a:rPr>
              <a:t>IN</a:t>
            </a:r>
            <a:r>
              <a:rPr sz="1000" b="1" spc="-20" dirty="0">
                <a:latin typeface="Trebuchet MS"/>
                <a:cs typeface="Trebuchet MS"/>
              </a:rPr>
              <a:t> </a:t>
            </a:r>
            <a:r>
              <a:rPr sz="1000" b="1" dirty="0">
                <a:latin typeface="Trebuchet MS"/>
                <a:cs typeface="Trebuchet MS"/>
              </a:rPr>
              <a:t>EAST</a:t>
            </a:r>
            <a:r>
              <a:rPr sz="1000" b="1" spc="-23" dirty="0">
                <a:latin typeface="Trebuchet MS"/>
                <a:cs typeface="Trebuchet MS"/>
              </a:rPr>
              <a:t> </a:t>
            </a:r>
            <a:r>
              <a:rPr sz="1000" b="1" spc="-7" dirty="0">
                <a:latin typeface="Trebuchet MS"/>
                <a:cs typeface="Trebuchet MS"/>
              </a:rPr>
              <a:t>ST.</a:t>
            </a:r>
            <a:r>
              <a:rPr sz="1000" b="1" spc="-20" dirty="0">
                <a:latin typeface="Trebuchet MS"/>
                <a:cs typeface="Trebuchet MS"/>
              </a:rPr>
              <a:t> </a:t>
            </a:r>
            <a:r>
              <a:rPr sz="1000" b="1" spc="-7" dirty="0">
                <a:latin typeface="Trebuchet MS"/>
                <a:cs typeface="Trebuchet MS"/>
              </a:rPr>
              <a:t>LOUIS,</a:t>
            </a:r>
            <a:r>
              <a:rPr sz="1000" b="1" spc="-23" dirty="0">
                <a:latin typeface="Trebuchet MS"/>
                <a:cs typeface="Trebuchet MS"/>
              </a:rPr>
              <a:t> </a:t>
            </a:r>
            <a:r>
              <a:rPr sz="1000" b="1" spc="-7" dirty="0">
                <a:latin typeface="Trebuchet MS"/>
                <a:cs typeface="Trebuchet MS"/>
              </a:rPr>
              <a:t>ILLINOIS. </a:t>
            </a:r>
            <a:r>
              <a:rPr sz="1000" b="1" spc="107" dirty="0">
                <a:latin typeface="Trebuchet MS"/>
                <a:cs typeface="Trebuchet MS"/>
              </a:rPr>
              <a:t>MY</a:t>
            </a:r>
            <a:r>
              <a:rPr sz="1000" b="1" spc="-30" dirty="0">
                <a:latin typeface="Trebuchet MS"/>
                <a:cs typeface="Trebuchet MS"/>
              </a:rPr>
              <a:t> </a:t>
            </a:r>
            <a:r>
              <a:rPr sz="1000" b="1" spc="40" dirty="0">
                <a:latin typeface="Trebuchet MS"/>
                <a:cs typeface="Trebuchet MS"/>
              </a:rPr>
              <a:t>PASSION</a:t>
            </a:r>
            <a:r>
              <a:rPr sz="1000" b="1" spc="-30" dirty="0">
                <a:latin typeface="Trebuchet MS"/>
                <a:cs typeface="Trebuchet MS"/>
              </a:rPr>
              <a:t> FOR </a:t>
            </a:r>
            <a:r>
              <a:rPr sz="1000" b="1" spc="-47" dirty="0">
                <a:latin typeface="Trebuchet MS"/>
                <a:cs typeface="Trebuchet MS"/>
              </a:rPr>
              <a:t>BIRTH</a:t>
            </a:r>
            <a:r>
              <a:rPr sz="1000" b="1" spc="-30" dirty="0">
                <a:latin typeface="Trebuchet MS"/>
                <a:cs typeface="Trebuchet MS"/>
              </a:rPr>
              <a:t> </a:t>
            </a:r>
            <a:r>
              <a:rPr sz="1000" b="1" dirty="0">
                <a:latin typeface="Trebuchet MS"/>
                <a:cs typeface="Trebuchet MS"/>
              </a:rPr>
              <a:t>WORK</a:t>
            </a:r>
            <a:r>
              <a:rPr sz="1000" b="1" spc="-27" dirty="0">
                <a:latin typeface="Trebuchet MS"/>
                <a:cs typeface="Trebuchet MS"/>
              </a:rPr>
              <a:t> </a:t>
            </a:r>
            <a:r>
              <a:rPr sz="1000" b="1" spc="57" dirty="0">
                <a:latin typeface="Trebuchet MS"/>
                <a:cs typeface="Trebuchet MS"/>
              </a:rPr>
              <a:t>STEMS</a:t>
            </a:r>
            <a:r>
              <a:rPr sz="1000" b="1" spc="-30" dirty="0">
                <a:latin typeface="Trebuchet MS"/>
                <a:cs typeface="Trebuchet MS"/>
              </a:rPr>
              <a:t> </a:t>
            </a:r>
            <a:r>
              <a:rPr sz="1000" b="1" dirty="0">
                <a:latin typeface="Trebuchet MS"/>
                <a:cs typeface="Trebuchet MS"/>
              </a:rPr>
              <a:t>FROM</a:t>
            </a:r>
            <a:r>
              <a:rPr sz="1000" b="1" spc="-30" dirty="0">
                <a:latin typeface="Trebuchet MS"/>
                <a:cs typeface="Trebuchet MS"/>
              </a:rPr>
              <a:t> </a:t>
            </a:r>
            <a:r>
              <a:rPr sz="1000" b="1" dirty="0">
                <a:latin typeface="Trebuchet MS"/>
                <a:cs typeface="Trebuchet MS"/>
              </a:rPr>
              <a:t>BEING</a:t>
            </a:r>
            <a:r>
              <a:rPr sz="1000" b="1" spc="-30" dirty="0">
                <a:latin typeface="Trebuchet MS"/>
                <a:cs typeface="Trebuchet MS"/>
              </a:rPr>
              <a:t> </a:t>
            </a:r>
            <a:r>
              <a:rPr sz="1000" b="1" spc="17" dirty="0">
                <a:latin typeface="Trebuchet MS"/>
                <a:cs typeface="Trebuchet MS"/>
              </a:rPr>
              <a:t>A </a:t>
            </a:r>
            <a:r>
              <a:rPr sz="1000" b="1" spc="-53" dirty="0">
                <a:latin typeface="Trebuchet MS"/>
                <a:cs typeface="Trebuchet MS"/>
              </a:rPr>
              <a:t>TEEN</a:t>
            </a:r>
            <a:r>
              <a:rPr sz="1000" b="1" spc="-30" dirty="0">
                <a:latin typeface="Trebuchet MS"/>
                <a:cs typeface="Trebuchet MS"/>
              </a:rPr>
              <a:t> </a:t>
            </a:r>
            <a:r>
              <a:rPr sz="1000" b="1" spc="136" dirty="0">
                <a:latin typeface="Trebuchet MS"/>
                <a:cs typeface="Trebuchet MS"/>
              </a:rPr>
              <a:t>MOM</a:t>
            </a:r>
            <a:r>
              <a:rPr sz="1000" b="1" spc="-30" dirty="0">
                <a:latin typeface="Trebuchet MS"/>
                <a:cs typeface="Trebuchet MS"/>
              </a:rPr>
              <a:t> </a:t>
            </a:r>
            <a:r>
              <a:rPr sz="1000" b="1" dirty="0">
                <a:latin typeface="Trebuchet MS"/>
                <a:cs typeface="Trebuchet MS"/>
              </a:rPr>
              <a:t>AND</a:t>
            </a:r>
            <a:r>
              <a:rPr sz="1000" b="1" spc="-30" dirty="0">
                <a:latin typeface="Trebuchet MS"/>
                <a:cs typeface="Trebuchet MS"/>
              </a:rPr>
              <a:t> </a:t>
            </a:r>
            <a:r>
              <a:rPr sz="1000" b="1" dirty="0">
                <a:latin typeface="Trebuchet MS"/>
                <a:cs typeface="Trebuchet MS"/>
              </a:rPr>
              <a:t>WORKING</a:t>
            </a:r>
            <a:r>
              <a:rPr sz="1000" b="1" spc="-30" dirty="0">
                <a:latin typeface="Trebuchet MS"/>
                <a:cs typeface="Trebuchet MS"/>
              </a:rPr>
              <a:t> </a:t>
            </a:r>
            <a:r>
              <a:rPr sz="1000" b="1" dirty="0">
                <a:latin typeface="Trebuchet MS"/>
                <a:cs typeface="Trebuchet MS"/>
              </a:rPr>
              <a:t>IN</a:t>
            </a:r>
            <a:r>
              <a:rPr sz="1000" b="1" spc="-30" dirty="0">
                <a:latin typeface="Trebuchet MS"/>
                <a:cs typeface="Trebuchet MS"/>
              </a:rPr>
              <a:t> </a:t>
            </a:r>
            <a:r>
              <a:rPr sz="1000" b="1" spc="-57" dirty="0">
                <a:latin typeface="Trebuchet MS"/>
                <a:cs typeface="Trebuchet MS"/>
              </a:rPr>
              <a:t>THE</a:t>
            </a:r>
            <a:r>
              <a:rPr sz="1000" b="1" spc="-30" dirty="0">
                <a:latin typeface="Trebuchet MS"/>
                <a:cs typeface="Trebuchet MS"/>
              </a:rPr>
              <a:t> </a:t>
            </a:r>
            <a:r>
              <a:rPr sz="1000" b="1" spc="30" dirty="0">
                <a:latin typeface="Trebuchet MS"/>
                <a:cs typeface="Trebuchet MS"/>
              </a:rPr>
              <a:t>MEDICAL</a:t>
            </a:r>
            <a:r>
              <a:rPr sz="1000" b="1" spc="-30" dirty="0">
                <a:latin typeface="Trebuchet MS"/>
                <a:cs typeface="Trebuchet MS"/>
              </a:rPr>
              <a:t> </a:t>
            </a:r>
            <a:r>
              <a:rPr sz="1000" b="1" spc="-53" dirty="0">
                <a:latin typeface="Trebuchet MS"/>
                <a:cs typeface="Trebuchet MS"/>
              </a:rPr>
              <a:t>FIELD.</a:t>
            </a:r>
            <a:r>
              <a:rPr sz="1000" b="1" spc="-30" dirty="0">
                <a:latin typeface="Trebuchet MS"/>
                <a:cs typeface="Trebuchet MS"/>
              </a:rPr>
              <a:t> </a:t>
            </a:r>
            <a:r>
              <a:rPr sz="1000" b="1" spc="-13" dirty="0">
                <a:latin typeface="Trebuchet MS"/>
                <a:cs typeface="Trebuchet MS"/>
              </a:rPr>
              <a:t>OVER </a:t>
            </a:r>
            <a:r>
              <a:rPr sz="1000" b="1" spc="-57" dirty="0">
                <a:latin typeface="Trebuchet MS"/>
                <a:cs typeface="Trebuchet MS"/>
              </a:rPr>
              <a:t>THE</a:t>
            </a:r>
            <a:r>
              <a:rPr sz="1000" b="1" spc="7" dirty="0">
                <a:latin typeface="Trebuchet MS"/>
                <a:cs typeface="Trebuchet MS"/>
              </a:rPr>
              <a:t> </a:t>
            </a:r>
            <a:r>
              <a:rPr sz="1000" b="1" dirty="0">
                <a:latin typeface="Trebuchet MS"/>
                <a:cs typeface="Trebuchet MS"/>
              </a:rPr>
              <a:t>YEARS</a:t>
            </a:r>
            <a:r>
              <a:rPr sz="1000" b="1" spc="7" dirty="0">
                <a:latin typeface="Trebuchet MS"/>
                <a:cs typeface="Trebuchet MS"/>
              </a:rPr>
              <a:t> </a:t>
            </a:r>
            <a:r>
              <a:rPr sz="1000" b="1" dirty="0">
                <a:latin typeface="Trebuchet MS"/>
                <a:cs typeface="Trebuchet MS"/>
              </a:rPr>
              <a:t>WITNESSING</a:t>
            </a:r>
            <a:r>
              <a:rPr sz="1000" b="1" spc="10" dirty="0">
                <a:latin typeface="Trebuchet MS"/>
                <a:cs typeface="Trebuchet MS"/>
              </a:rPr>
              <a:t> </a:t>
            </a:r>
            <a:r>
              <a:rPr sz="1000" b="1" spc="-57" dirty="0">
                <a:latin typeface="Trebuchet MS"/>
                <a:cs typeface="Trebuchet MS"/>
              </a:rPr>
              <a:t>THE</a:t>
            </a:r>
            <a:r>
              <a:rPr sz="1000" b="1" spc="7" dirty="0">
                <a:latin typeface="Trebuchet MS"/>
                <a:cs typeface="Trebuchet MS"/>
              </a:rPr>
              <a:t> </a:t>
            </a:r>
            <a:r>
              <a:rPr sz="1000" b="1" spc="-20" dirty="0">
                <a:latin typeface="Trebuchet MS"/>
                <a:cs typeface="Trebuchet MS"/>
              </a:rPr>
              <a:t>TREATMENT</a:t>
            </a:r>
            <a:r>
              <a:rPr sz="1000" b="1" spc="10" dirty="0">
                <a:latin typeface="Trebuchet MS"/>
                <a:cs typeface="Trebuchet MS"/>
              </a:rPr>
              <a:t> </a:t>
            </a:r>
            <a:r>
              <a:rPr sz="1000" b="1" dirty="0">
                <a:latin typeface="Trebuchet MS"/>
                <a:cs typeface="Trebuchet MS"/>
              </a:rPr>
              <a:t>OF</a:t>
            </a:r>
            <a:r>
              <a:rPr sz="1000" b="1" spc="7" dirty="0">
                <a:latin typeface="Trebuchet MS"/>
                <a:cs typeface="Trebuchet MS"/>
              </a:rPr>
              <a:t> </a:t>
            </a:r>
            <a:r>
              <a:rPr sz="1000" b="1" spc="-7" dirty="0">
                <a:latin typeface="Trebuchet MS"/>
                <a:cs typeface="Trebuchet MS"/>
              </a:rPr>
              <a:t>BIPOC </a:t>
            </a:r>
            <a:r>
              <a:rPr sz="1000" b="1" dirty="0">
                <a:latin typeface="Trebuchet MS"/>
                <a:cs typeface="Trebuchet MS"/>
              </a:rPr>
              <a:t>FAMILIES</a:t>
            </a:r>
            <a:r>
              <a:rPr sz="1000" b="1" spc="-33" dirty="0">
                <a:latin typeface="Trebuchet MS"/>
                <a:cs typeface="Trebuchet MS"/>
              </a:rPr>
              <a:t> </a:t>
            </a:r>
            <a:r>
              <a:rPr sz="1000" b="1" spc="-13" dirty="0">
                <a:latin typeface="Trebuchet MS"/>
                <a:cs typeface="Trebuchet MS"/>
              </a:rPr>
              <a:t>INSPIRED</a:t>
            </a:r>
            <a:r>
              <a:rPr sz="1000" b="1" spc="-30" dirty="0">
                <a:latin typeface="Trebuchet MS"/>
                <a:cs typeface="Trebuchet MS"/>
              </a:rPr>
              <a:t> </a:t>
            </a:r>
            <a:r>
              <a:rPr sz="1000" b="1" spc="57" dirty="0">
                <a:latin typeface="Trebuchet MS"/>
                <a:cs typeface="Trebuchet MS"/>
              </a:rPr>
              <a:t>ME</a:t>
            </a:r>
            <a:r>
              <a:rPr sz="1000" b="1" spc="-30" dirty="0">
                <a:latin typeface="Trebuchet MS"/>
                <a:cs typeface="Trebuchet MS"/>
              </a:rPr>
              <a:t> </a:t>
            </a:r>
            <a:r>
              <a:rPr sz="1000" b="1" dirty="0">
                <a:latin typeface="Trebuchet MS"/>
                <a:cs typeface="Trebuchet MS"/>
              </a:rPr>
              <a:t>TO</a:t>
            </a:r>
            <a:r>
              <a:rPr sz="1000" b="1" spc="-30" dirty="0">
                <a:latin typeface="Trebuchet MS"/>
                <a:cs typeface="Trebuchet MS"/>
              </a:rPr>
              <a:t> </a:t>
            </a:r>
            <a:r>
              <a:rPr sz="1000" b="1" dirty="0">
                <a:latin typeface="Trebuchet MS"/>
                <a:cs typeface="Trebuchet MS"/>
              </a:rPr>
              <a:t>NOT</a:t>
            </a:r>
            <a:r>
              <a:rPr sz="1000" b="1" spc="-30" dirty="0">
                <a:latin typeface="Trebuchet MS"/>
                <a:cs typeface="Trebuchet MS"/>
              </a:rPr>
              <a:t> </a:t>
            </a:r>
            <a:r>
              <a:rPr sz="1000" b="1" dirty="0">
                <a:latin typeface="Trebuchet MS"/>
                <a:cs typeface="Trebuchet MS"/>
              </a:rPr>
              <a:t>ONLY</a:t>
            </a:r>
            <a:r>
              <a:rPr sz="1000" b="1" spc="-30" dirty="0">
                <a:latin typeface="Trebuchet MS"/>
                <a:cs typeface="Trebuchet MS"/>
              </a:rPr>
              <a:t> </a:t>
            </a:r>
            <a:r>
              <a:rPr sz="1000" b="1" spc="-20" dirty="0">
                <a:latin typeface="Trebuchet MS"/>
                <a:cs typeface="Trebuchet MS"/>
              </a:rPr>
              <a:t>TALK</a:t>
            </a:r>
            <a:r>
              <a:rPr sz="1000" b="1" spc="-30" dirty="0">
                <a:latin typeface="Trebuchet MS"/>
                <a:cs typeface="Trebuchet MS"/>
              </a:rPr>
              <a:t> </a:t>
            </a:r>
            <a:r>
              <a:rPr sz="1000" b="1" dirty="0">
                <a:latin typeface="Trebuchet MS"/>
                <a:cs typeface="Trebuchet MS"/>
              </a:rPr>
              <a:t>ABOUT</a:t>
            </a:r>
            <a:r>
              <a:rPr sz="1000" b="1" spc="-30" dirty="0">
                <a:latin typeface="Trebuchet MS"/>
                <a:cs typeface="Trebuchet MS"/>
              </a:rPr>
              <a:t> </a:t>
            </a:r>
            <a:r>
              <a:rPr sz="1000" b="1" spc="-13" dirty="0">
                <a:latin typeface="Trebuchet MS"/>
                <a:cs typeface="Trebuchet MS"/>
              </a:rPr>
              <a:t>WHAT </a:t>
            </a:r>
            <a:r>
              <a:rPr sz="1000" b="1" spc="-37" dirty="0">
                <a:latin typeface="Trebuchet MS"/>
                <a:cs typeface="Trebuchet MS"/>
              </a:rPr>
              <a:t>NEEDED</a:t>
            </a:r>
            <a:r>
              <a:rPr sz="1000" b="1" spc="-27" dirty="0">
                <a:latin typeface="Trebuchet MS"/>
                <a:cs typeface="Trebuchet MS"/>
              </a:rPr>
              <a:t> </a:t>
            </a:r>
            <a:r>
              <a:rPr sz="1000" b="1" dirty="0">
                <a:latin typeface="Trebuchet MS"/>
                <a:cs typeface="Trebuchet MS"/>
              </a:rPr>
              <a:t>TO</a:t>
            </a:r>
            <a:r>
              <a:rPr sz="1000" b="1" spc="-27" dirty="0">
                <a:latin typeface="Trebuchet MS"/>
                <a:cs typeface="Trebuchet MS"/>
              </a:rPr>
              <a:t> </a:t>
            </a:r>
            <a:r>
              <a:rPr sz="1000" b="1" spc="-53" dirty="0">
                <a:latin typeface="Trebuchet MS"/>
                <a:cs typeface="Trebuchet MS"/>
              </a:rPr>
              <a:t>BE</a:t>
            </a:r>
            <a:r>
              <a:rPr sz="1000" b="1" spc="-23" dirty="0">
                <a:latin typeface="Trebuchet MS"/>
                <a:cs typeface="Trebuchet MS"/>
              </a:rPr>
              <a:t> </a:t>
            </a:r>
            <a:r>
              <a:rPr sz="1000" b="1" dirty="0">
                <a:latin typeface="Trebuchet MS"/>
                <a:cs typeface="Trebuchet MS"/>
              </a:rPr>
              <a:t>DONE</a:t>
            </a:r>
            <a:r>
              <a:rPr sz="1000" b="1" spc="-27" dirty="0">
                <a:latin typeface="Trebuchet MS"/>
                <a:cs typeface="Trebuchet MS"/>
              </a:rPr>
              <a:t> </a:t>
            </a:r>
            <a:r>
              <a:rPr sz="1000" b="1" spc="-47" dirty="0">
                <a:latin typeface="Trebuchet MS"/>
                <a:cs typeface="Trebuchet MS"/>
              </a:rPr>
              <a:t>BUT</a:t>
            </a:r>
            <a:r>
              <a:rPr sz="1000" b="1" spc="-27" dirty="0">
                <a:latin typeface="Trebuchet MS"/>
                <a:cs typeface="Trebuchet MS"/>
              </a:rPr>
              <a:t> </a:t>
            </a:r>
            <a:r>
              <a:rPr sz="1000" b="1" dirty="0">
                <a:latin typeface="Trebuchet MS"/>
                <a:cs typeface="Trebuchet MS"/>
              </a:rPr>
              <a:t>TO</a:t>
            </a:r>
            <a:r>
              <a:rPr sz="1000" b="1" spc="-23" dirty="0">
                <a:latin typeface="Trebuchet MS"/>
                <a:cs typeface="Trebuchet MS"/>
              </a:rPr>
              <a:t> </a:t>
            </a:r>
            <a:r>
              <a:rPr sz="1000" b="1" spc="-53" dirty="0">
                <a:latin typeface="Trebuchet MS"/>
                <a:cs typeface="Trebuchet MS"/>
              </a:rPr>
              <a:t>BE</a:t>
            </a:r>
            <a:r>
              <a:rPr sz="1000" b="1" spc="-27" dirty="0">
                <a:latin typeface="Trebuchet MS"/>
                <a:cs typeface="Trebuchet MS"/>
              </a:rPr>
              <a:t> </a:t>
            </a:r>
            <a:r>
              <a:rPr sz="1000" b="1" spc="-57" dirty="0">
                <a:latin typeface="Trebuchet MS"/>
                <a:cs typeface="Trebuchet MS"/>
              </a:rPr>
              <a:t>THE</a:t>
            </a:r>
            <a:r>
              <a:rPr sz="1000" b="1" spc="-27" dirty="0">
                <a:latin typeface="Trebuchet MS"/>
                <a:cs typeface="Trebuchet MS"/>
              </a:rPr>
              <a:t> </a:t>
            </a:r>
            <a:r>
              <a:rPr sz="1000" b="1" dirty="0">
                <a:latin typeface="Trebuchet MS"/>
                <a:cs typeface="Trebuchet MS"/>
              </a:rPr>
              <a:t>CHANGE</a:t>
            </a:r>
            <a:r>
              <a:rPr sz="1000" b="1" spc="-23" dirty="0">
                <a:latin typeface="Trebuchet MS"/>
                <a:cs typeface="Trebuchet MS"/>
              </a:rPr>
              <a:t> </a:t>
            </a:r>
            <a:r>
              <a:rPr sz="1000" b="1" spc="-13" dirty="0">
                <a:latin typeface="Trebuchet MS"/>
                <a:cs typeface="Trebuchet MS"/>
              </a:rPr>
              <a:t>THAT </a:t>
            </a:r>
            <a:r>
              <a:rPr sz="1000" b="1" dirty="0">
                <a:latin typeface="Trebuchet MS"/>
                <a:cs typeface="Trebuchet MS"/>
              </a:rPr>
              <a:t>MATERNAL</a:t>
            </a:r>
            <a:r>
              <a:rPr sz="1000" b="1" spc="-30" dirty="0">
                <a:latin typeface="Trebuchet MS"/>
                <a:cs typeface="Trebuchet MS"/>
              </a:rPr>
              <a:t> </a:t>
            </a:r>
            <a:r>
              <a:rPr sz="1000" b="1" spc="-40" dirty="0">
                <a:latin typeface="Trebuchet MS"/>
                <a:cs typeface="Trebuchet MS"/>
              </a:rPr>
              <a:t>HEALTH</a:t>
            </a:r>
            <a:r>
              <a:rPr sz="1000" b="1" spc="-27" dirty="0">
                <a:latin typeface="Trebuchet MS"/>
                <a:cs typeface="Trebuchet MS"/>
              </a:rPr>
              <a:t> </a:t>
            </a:r>
            <a:r>
              <a:rPr sz="1000" b="1" spc="-13" dirty="0">
                <a:latin typeface="Trebuchet MS"/>
                <a:cs typeface="Trebuchet MS"/>
              </a:rPr>
              <a:t>NEEDS</a:t>
            </a:r>
            <a:endParaRPr sz="1000">
              <a:latin typeface="Trebuchet MS"/>
              <a:cs typeface="Trebuchet MS"/>
            </a:endParaRPr>
          </a:p>
        </p:txBody>
      </p:sp>
      <p:sp>
        <p:nvSpPr>
          <p:cNvPr id="12" name="object 12"/>
          <p:cNvSpPr txBox="1"/>
          <p:nvPr/>
        </p:nvSpPr>
        <p:spPr>
          <a:xfrm>
            <a:off x="626534" y="6435835"/>
            <a:ext cx="1111250" cy="199813"/>
          </a:xfrm>
          <a:prstGeom prst="rect">
            <a:avLst/>
          </a:prstGeom>
        </p:spPr>
        <p:txBody>
          <a:bodyPr vert="horz" wrap="square" lIns="0" tIns="8467" rIns="0" bIns="0" rtlCol="0">
            <a:spAutoFit/>
          </a:bodyPr>
          <a:lstStyle/>
          <a:p>
            <a:pPr marL="8467">
              <a:lnSpc>
                <a:spcPct val="100000"/>
              </a:lnSpc>
              <a:spcBef>
                <a:spcPts val="67"/>
              </a:spcBef>
            </a:pPr>
            <a:r>
              <a:rPr sz="1200" b="1" spc="-67" dirty="0">
                <a:latin typeface="Trebuchet MS"/>
                <a:cs typeface="Trebuchet MS"/>
              </a:rPr>
              <a:t>THE</a:t>
            </a:r>
            <a:r>
              <a:rPr sz="1200" b="1" spc="-53" dirty="0">
                <a:latin typeface="Trebuchet MS"/>
                <a:cs typeface="Trebuchet MS"/>
              </a:rPr>
              <a:t> </a:t>
            </a:r>
            <a:r>
              <a:rPr sz="1200" b="1" dirty="0">
                <a:latin typeface="Trebuchet MS"/>
                <a:cs typeface="Trebuchet MS"/>
              </a:rPr>
              <a:t>DOULA</a:t>
            </a:r>
            <a:r>
              <a:rPr sz="1200" b="1" spc="-50" dirty="0">
                <a:latin typeface="Trebuchet MS"/>
                <a:cs typeface="Trebuchet MS"/>
              </a:rPr>
              <a:t> </a:t>
            </a:r>
            <a:r>
              <a:rPr sz="1200" b="1" spc="-17" dirty="0">
                <a:latin typeface="Trebuchet MS"/>
                <a:cs typeface="Trebuchet MS"/>
              </a:rPr>
              <a:t>LAB</a:t>
            </a:r>
            <a:endParaRPr sz="1200">
              <a:latin typeface="Trebuchet MS"/>
              <a:cs typeface="Trebuchet M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9497026" y="1057149"/>
            <a:ext cx="2305715" cy="2305715"/>
          </a:xfrm>
          <a:prstGeom prst="rect">
            <a:avLst/>
          </a:prstGeom>
        </p:spPr>
      </p:pic>
      <p:pic>
        <p:nvPicPr>
          <p:cNvPr id="9" name="object 9"/>
          <p:cNvPicPr/>
          <p:nvPr/>
        </p:nvPicPr>
        <p:blipFill>
          <a:blip r:embed="rId6" cstate="email">
            <a:extLst>
              <a:ext uri="{28A0092B-C50C-407E-A947-70E740481C1C}">
                <a14:useLocalDpi xmlns:a14="http://schemas.microsoft.com/office/drawing/2010/main"/>
              </a:ext>
            </a:extLst>
          </a:blip>
          <a:stretch>
            <a:fillRect/>
          </a:stretch>
        </p:blipFill>
        <p:spPr>
          <a:xfrm>
            <a:off x="6750681" y="3144983"/>
            <a:ext cx="2305715" cy="2305715"/>
          </a:xfrm>
          <a:prstGeom prst="rect">
            <a:avLst/>
          </a:prstGeom>
        </p:spPr>
      </p:pic>
      <p:pic>
        <p:nvPicPr>
          <p:cNvPr id="10" name="object 10"/>
          <p:cNvPicPr/>
          <p:nvPr/>
        </p:nvPicPr>
        <p:blipFill>
          <a:blip r:embed="rId7" cstate="email">
            <a:extLst>
              <a:ext uri="{28A0092B-C50C-407E-A947-70E740481C1C}">
                <a14:useLocalDpi xmlns:a14="http://schemas.microsoft.com/office/drawing/2010/main"/>
              </a:ext>
            </a:extLst>
          </a:blip>
          <a:stretch>
            <a:fillRect/>
          </a:stretch>
        </p:blipFill>
        <p:spPr>
          <a:xfrm>
            <a:off x="3790275" y="360050"/>
            <a:ext cx="2305715" cy="2305715"/>
          </a:xfrm>
          <a:prstGeom prst="rect">
            <a:avLst/>
          </a:prstGeom>
        </p:spPr>
      </p:pic>
      <p:sp>
        <p:nvSpPr>
          <p:cNvPr id="11" name="object 11"/>
          <p:cNvSpPr/>
          <p:nvPr/>
        </p:nvSpPr>
        <p:spPr>
          <a:xfrm>
            <a:off x="4304133" y="3144712"/>
            <a:ext cx="2306319" cy="2306319"/>
          </a:xfrm>
          <a:custGeom>
            <a:avLst/>
            <a:gdLst/>
            <a:ahLst/>
            <a:cxnLst/>
            <a:rect l="l" t="t" r="r" b="b"/>
            <a:pathLst>
              <a:path w="3459479" h="3459479">
                <a:moveTo>
                  <a:pt x="1729490" y="3458980"/>
                </a:moveTo>
                <a:lnTo>
                  <a:pt x="1681081" y="3458316"/>
                </a:lnTo>
                <a:lnTo>
                  <a:pt x="1633001" y="3456334"/>
                </a:lnTo>
                <a:lnTo>
                  <a:pt x="1585267" y="3453052"/>
                </a:lnTo>
                <a:lnTo>
                  <a:pt x="1537897" y="3448488"/>
                </a:lnTo>
                <a:lnTo>
                  <a:pt x="1490908" y="3442658"/>
                </a:lnTo>
                <a:lnTo>
                  <a:pt x="1444317" y="3435581"/>
                </a:lnTo>
                <a:lnTo>
                  <a:pt x="1398143" y="3427273"/>
                </a:lnTo>
                <a:lnTo>
                  <a:pt x="1352401" y="3417751"/>
                </a:lnTo>
                <a:lnTo>
                  <a:pt x="1307109" y="3407034"/>
                </a:lnTo>
                <a:lnTo>
                  <a:pt x="1262286" y="3395137"/>
                </a:lnTo>
                <a:lnTo>
                  <a:pt x="1217947" y="3382080"/>
                </a:lnTo>
                <a:lnTo>
                  <a:pt x="1174111" y="3367879"/>
                </a:lnTo>
                <a:lnTo>
                  <a:pt x="1130795" y="3352551"/>
                </a:lnTo>
                <a:lnTo>
                  <a:pt x="1088016" y="3336114"/>
                </a:lnTo>
                <a:lnTo>
                  <a:pt x="1045791" y="3318585"/>
                </a:lnTo>
                <a:lnTo>
                  <a:pt x="1004138" y="3299981"/>
                </a:lnTo>
                <a:lnTo>
                  <a:pt x="963075" y="3280320"/>
                </a:lnTo>
                <a:lnTo>
                  <a:pt x="922617" y="3259619"/>
                </a:lnTo>
                <a:lnTo>
                  <a:pt x="882784" y="3237896"/>
                </a:lnTo>
                <a:lnTo>
                  <a:pt x="843591" y="3215167"/>
                </a:lnTo>
                <a:lnTo>
                  <a:pt x="805058" y="3191451"/>
                </a:lnTo>
                <a:lnTo>
                  <a:pt x="767199" y="3166764"/>
                </a:lnTo>
                <a:lnTo>
                  <a:pt x="730035" y="3141124"/>
                </a:lnTo>
                <a:lnTo>
                  <a:pt x="693580" y="3114548"/>
                </a:lnTo>
                <a:lnTo>
                  <a:pt x="657854" y="3087053"/>
                </a:lnTo>
                <a:lnTo>
                  <a:pt x="622872" y="3058657"/>
                </a:lnTo>
                <a:lnTo>
                  <a:pt x="588653" y="3029377"/>
                </a:lnTo>
                <a:lnTo>
                  <a:pt x="555214" y="2999231"/>
                </a:lnTo>
                <a:lnTo>
                  <a:pt x="522572" y="2968235"/>
                </a:lnTo>
                <a:lnTo>
                  <a:pt x="490745" y="2936408"/>
                </a:lnTo>
                <a:lnTo>
                  <a:pt x="459749" y="2903766"/>
                </a:lnTo>
                <a:lnTo>
                  <a:pt x="429603" y="2870327"/>
                </a:lnTo>
                <a:lnTo>
                  <a:pt x="400323" y="2836108"/>
                </a:lnTo>
                <a:lnTo>
                  <a:pt x="371927" y="2801127"/>
                </a:lnTo>
                <a:lnTo>
                  <a:pt x="344433" y="2765400"/>
                </a:lnTo>
                <a:lnTo>
                  <a:pt x="317856" y="2728946"/>
                </a:lnTo>
                <a:lnTo>
                  <a:pt x="292216" y="2691781"/>
                </a:lnTo>
                <a:lnTo>
                  <a:pt x="267529" y="2653923"/>
                </a:lnTo>
                <a:lnTo>
                  <a:pt x="243813" y="2615389"/>
                </a:lnTo>
                <a:lnTo>
                  <a:pt x="221084" y="2576197"/>
                </a:lnTo>
                <a:lnTo>
                  <a:pt x="199361" y="2536363"/>
                </a:lnTo>
                <a:lnTo>
                  <a:pt x="178660" y="2495906"/>
                </a:lnTo>
                <a:lnTo>
                  <a:pt x="158999" y="2454842"/>
                </a:lnTo>
                <a:lnTo>
                  <a:pt x="140395" y="2413189"/>
                </a:lnTo>
                <a:lnTo>
                  <a:pt x="122866" y="2370965"/>
                </a:lnTo>
                <a:lnTo>
                  <a:pt x="106429" y="2328185"/>
                </a:lnTo>
                <a:lnTo>
                  <a:pt x="91101" y="2284869"/>
                </a:lnTo>
                <a:lnTo>
                  <a:pt x="76900" y="2241033"/>
                </a:lnTo>
                <a:lnTo>
                  <a:pt x="63842" y="2196695"/>
                </a:lnTo>
                <a:lnTo>
                  <a:pt x="51946" y="2151871"/>
                </a:lnTo>
                <a:lnTo>
                  <a:pt x="41229" y="2106580"/>
                </a:lnTo>
                <a:lnTo>
                  <a:pt x="31707" y="2060838"/>
                </a:lnTo>
                <a:lnTo>
                  <a:pt x="23399" y="2014663"/>
                </a:lnTo>
                <a:lnTo>
                  <a:pt x="16321" y="1968073"/>
                </a:lnTo>
                <a:lnTo>
                  <a:pt x="10492" y="1921084"/>
                </a:lnTo>
                <a:lnTo>
                  <a:pt x="5927" y="1873714"/>
                </a:lnTo>
                <a:lnTo>
                  <a:pt x="2646" y="1825980"/>
                </a:lnTo>
                <a:lnTo>
                  <a:pt x="664" y="1777900"/>
                </a:lnTo>
                <a:lnTo>
                  <a:pt x="0" y="1729490"/>
                </a:lnTo>
                <a:lnTo>
                  <a:pt x="664" y="1681081"/>
                </a:lnTo>
                <a:lnTo>
                  <a:pt x="2646" y="1633001"/>
                </a:lnTo>
                <a:lnTo>
                  <a:pt x="5927" y="1585267"/>
                </a:lnTo>
                <a:lnTo>
                  <a:pt x="10492" y="1537897"/>
                </a:lnTo>
                <a:lnTo>
                  <a:pt x="16321" y="1490908"/>
                </a:lnTo>
                <a:lnTo>
                  <a:pt x="23399" y="1444317"/>
                </a:lnTo>
                <a:lnTo>
                  <a:pt x="31707" y="1398142"/>
                </a:lnTo>
                <a:lnTo>
                  <a:pt x="41229" y="1352401"/>
                </a:lnTo>
                <a:lnTo>
                  <a:pt x="51946" y="1307109"/>
                </a:lnTo>
                <a:lnTo>
                  <a:pt x="63842" y="1262286"/>
                </a:lnTo>
                <a:lnTo>
                  <a:pt x="76900" y="1217947"/>
                </a:lnTo>
                <a:lnTo>
                  <a:pt x="91101" y="1174111"/>
                </a:lnTo>
                <a:lnTo>
                  <a:pt x="106429" y="1130795"/>
                </a:lnTo>
                <a:lnTo>
                  <a:pt x="122866" y="1088016"/>
                </a:lnTo>
                <a:lnTo>
                  <a:pt x="140395" y="1045791"/>
                </a:lnTo>
                <a:lnTo>
                  <a:pt x="158999" y="1004138"/>
                </a:lnTo>
                <a:lnTo>
                  <a:pt x="178660" y="963074"/>
                </a:lnTo>
                <a:lnTo>
                  <a:pt x="199361" y="922617"/>
                </a:lnTo>
                <a:lnTo>
                  <a:pt x="221084" y="882784"/>
                </a:lnTo>
                <a:lnTo>
                  <a:pt x="243813" y="843591"/>
                </a:lnTo>
                <a:lnTo>
                  <a:pt x="267529" y="805057"/>
                </a:lnTo>
                <a:lnTo>
                  <a:pt x="292216" y="767199"/>
                </a:lnTo>
                <a:lnTo>
                  <a:pt x="317856" y="730034"/>
                </a:lnTo>
                <a:lnTo>
                  <a:pt x="344433" y="693580"/>
                </a:lnTo>
                <a:lnTo>
                  <a:pt x="371927" y="657853"/>
                </a:lnTo>
                <a:lnTo>
                  <a:pt x="400323" y="622872"/>
                </a:lnTo>
                <a:lnTo>
                  <a:pt x="429603" y="588653"/>
                </a:lnTo>
                <a:lnTo>
                  <a:pt x="459749" y="555214"/>
                </a:lnTo>
                <a:lnTo>
                  <a:pt x="490745" y="522572"/>
                </a:lnTo>
                <a:lnTo>
                  <a:pt x="522572" y="490745"/>
                </a:lnTo>
                <a:lnTo>
                  <a:pt x="555214" y="459749"/>
                </a:lnTo>
                <a:lnTo>
                  <a:pt x="588653" y="429603"/>
                </a:lnTo>
                <a:lnTo>
                  <a:pt x="622872" y="400323"/>
                </a:lnTo>
                <a:lnTo>
                  <a:pt x="657854" y="371927"/>
                </a:lnTo>
                <a:lnTo>
                  <a:pt x="693580" y="344432"/>
                </a:lnTo>
                <a:lnTo>
                  <a:pt x="730035" y="317856"/>
                </a:lnTo>
                <a:lnTo>
                  <a:pt x="767199" y="292216"/>
                </a:lnTo>
                <a:lnTo>
                  <a:pt x="805058" y="267529"/>
                </a:lnTo>
                <a:lnTo>
                  <a:pt x="843591" y="243812"/>
                </a:lnTo>
                <a:lnTo>
                  <a:pt x="882784" y="221084"/>
                </a:lnTo>
                <a:lnTo>
                  <a:pt x="922617" y="199360"/>
                </a:lnTo>
                <a:lnTo>
                  <a:pt x="963075" y="178660"/>
                </a:lnTo>
                <a:lnTo>
                  <a:pt x="1004138" y="158999"/>
                </a:lnTo>
                <a:lnTo>
                  <a:pt x="1045791" y="140395"/>
                </a:lnTo>
                <a:lnTo>
                  <a:pt x="1088016" y="122866"/>
                </a:lnTo>
                <a:lnTo>
                  <a:pt x="1130795" y="106429"/>
                </a:lnTo>
                <a:lnTo>
                  <a:pt x="1174111" y="91101"/>
                </a:lnTo>
                <a:lnTo>
                  <a:pt x="1217947" y="76900"/>
                </a:lnTo>
                <a:lnTo>
                  <a:pt x="1262286" y="63842"/>
                </a:lnTo>
                <a:lnTo>
                  <a:pt x="1307109" y="51946"/>
                </a:lnTo>
                <a:lnTo>
                  <a:pt x="1352401" y="41229"/>
                </a:lnTo>
                <a:lnTo>
                  <a:pt x="1398143" y="31707"/>
                </a:lnTo>
                <a:lnTo>
                  <a:pt x="1444317" y="23399"/>
                </a:lnTo>
                <a:lnTo>
                  <a:pt x="1490908" y="16321"/>
                </a:lnTo>
                <a:lnTo>
                  <a:pt x="1537897" y="10492"/>
                </a:lnTo>
                <a:lnTo>
                  <a:pt x="1585267" y="5927"/>
                </a:lnTo>
                <a:lnTo>
                  <a:pt x="1633001" y="2646"/>
                </a:lnTo>
                <a:lnTo>
                  <a:pt x="1681081" y="664"/>
                </a:lnTo>
                <a:lnTo>
                  <a:pt x="1729490" y="0"/>
                </a:lnTo>
                <a:lnTo>
                  <a:pt x="1777900" y="664"/>
                </a:lnTo>
                <a:lnTo>
                  <a:pt x="1825980" y="2646"/>
                </a:lnTo>
                <a:lnTo>
                  <a:pt x="1873714" y="5927"/>
                </a:lnTo>
                <a:lnTo>
                  <a:pt x="1921084" y="10492"/>
                </a:lnTo>
                <a:lnTo>
                  <a:pt x="1968073" y="16321"/>
                </a:lnTo>
                <a:lnTo>
                  <a:pt x="2014663" y="23399"/>
                </a:lnTo>
                <a:lnTo>
                  <a:pt x="2060838" y="31707"/>
                </a:lnTo>
                <a:lnTo>
                  <a:pt x="2106580" y="41229"/>
                </a:lnTo>
                <a:lnTo>
                  <a:pt x="2151871" y="51946"/>
                </a:lnTo>
                <a:lnTo>
                  <a:pt x="2196695" y="63842"/>
                </a:lnTo>
                <a:lnTo>
                  <a:pt x="2241033" y="76900"/>
                </a:lnTo>
                <a:lnTo>
                  <a:pt x="2284869" y="91101"/>
                </a:lnTo>
                <a:lnTo>
                  <a:pt x="2328186" y="106429"/>
                </a:lnTo>
                <a:lnTo>
                  <a:pt x="2370965" y="122866"/>
                </a:lnTo>
                <a:lnTo>
                  <a:pt x="2413189" y="140395"/>
                </a:lnTo>
                <a:lnTo>
                  <a:pt x="2454842" y="158999"/>
                </a:lnTo>
                <a:lnTo>
                  <a:pt x="2495906" y="178660"/>
                </a:lnTo>
                <a:lnTo>
                  <a:pt x="2536363" y="199360"/>
                </a:lnTo>
                <a:lnTo>
                  <a:pt x="2576197" y="221084"/>
                </a:lnTo>
                <a:lnTo>
                  <a:pt x="2615389" y="243812"/>
                </a:lnTo>
                <a:lnTo>
                  <a:pt x="2653923" y="267529"/>
                </a:lnTo>
                <a:lnTo>
                  <a:pt x="2691781" y="292216"/>
                </a:lnTo>
                <a:lnTo>
                  <a:pt x="2728946" y="317856"/>
                </a:lnTo>
                <a:lnTo>
                  <a:pt x="2765400" y="344432"/>
                </a:lnTo>
                <a:lnTo>
                  <a:pt x="2801127" y="371927"/>
                </a:lnTo>
                <a:lnTo>
                  <a:pt x="2836108" y="400323"/>
                </a:lnTo>
                <a:lnTo>
                  <a:pt x="2870327" y="429603"/>
                </a:lnTo>
                <a:lnTo>
                  <a:pt x="2903766" y="459749"/>
                </a:lnTo>
                <a:lnTo>
                  <a:pt x="2936408" y="490745"/>
                </a:lnTo>
                <a:lnTo>
                  <a:pt x="2968235" y="522572"/>
                </a:lnTo>
                <a:lnTo>
                  <a:pt x="2999231" y="555214"/>
                </a:lnTo>
                <a:lnTo>
                  <a:pt x="3029377" y="588653"/>
                </a:lnTo>
                <a:lnTo>
                  <a:pt x="3058657" y="622872"/>
                </a:lnTo>
                <a:lnTo>
                  <a:pt x="3087053" y="657853"/>
                </a:lnTo>
                <a:lnTo>
                  <a:pt x="3114547" y="693580"/>
                </a:lnTo>
                <a:lnTo>
                  <a:pt x="3141124" y="730034"/>
                </a:lnTo>
                <a:lnTo>
                  <a:pt x="3166764" y="767199"/>
                </a:lnTo>
                <a:lnTo>
                  <a:pt x="3191451" y="805057"/>
                </a:lnTo>
                <a:lnTo>
                  <a:pt x="3215167" y="843591"/>
                </a:lnTo>
                <a:lnTo>
                  <a:pt x="3237896" y="882784"/>
                </a:lnTo>
                <a:lnTo>
                  <a:pt x="3259619" y="922617"/>
                </a:lnTo>
                <a:lnTo>
                  <a:pt x="3280320" y="963074"/>
                </a:lnTo>
                <a:lnTo>
                  <a:pt x="3299981" y="1004138"/>
                </a:lnTo>
                <a:lnTo>
                  <a:pt x="3318585" y="1045791"/>
                </a:lnTo>
                <a:lnTo>
                  <a:pt x="3336114" y="1088016"/>
                </a:lnTo>
                <a:lnTo>
                  <a:pt x="3352551" y="1130795"/>
                </a:lnTo>
                <a:lnTo>
                  <a:pt x="3367879" y="1174111"/>
                </a:lnTo>
                <a:lnTo>
                  <a:pt x="3382080" y="1217947"/>
                </a:lnTo>
                <a:lnTo>
                  <a:pt x="3395137" y="1262286"/>
                </a:lnTo>
                <a:lnTo>
                  <a:pt x="3407033" y="1307109"/>
                </a:lnTo>
                <a:lnTo>
                  <a:pt x="3417751" y="1352401"/>
                </a:lnTo>
                <a:lnTo>
                  <a:pt x="3427272" y="1398142"/>
                </a:lnTo>
                <a:lnTo>
                  <a:pt x="3435581" y="1444317"/>
                </a:lnTo>
                <a:lnTo>
                  <a:pt x="3442658" y="1490908"/>
                </a:lnTo>
                <a:lnTo>
                  <a:pt x="3448488" y="1537897"/>
                </a:lnTo>
                <a:lnTo>
                  <a:pt x="3453052" y="1585267"/>
                </a:lnTo>
                <a:lnTo>
                  <a:pt x="3456334" y="1633001"/>
                </a:lnTo>
                <a:lnTo>
                  <a:pt x="3458316" y="1681081"/>
                </a:lnTo>
                <a:lnTo>
                  <a:pt x="3458980" y="1729490"/>
                </a:lnTo>
                <a:lnTo>
                  <a:pt x="3458316" y="1777900"/>
                </a:lnTo>
                <a:lnTo>
                  <a:pt x="3456334" y="1825980"/>
                </a:lnTo>
                <a:lnTo>
                  <a:pt x="3453052" y="1873714"/>
                </a:lnTo>
                <a:lnTo>
                  <a:pt x="3448488" y="1921084"/>
                </a:lnTo>
                <a:lnTo>
                  <a:pt x="3442658" y="1968073"/>
                </a:lnTo>
                <a:lnTo>
                  <a:pt x="3435581" y="2014663"/>
                </a:lnTo>
                <a:lnTo>
                  <a:pt x="3427272" y="2060838"/>
                </a:lnTo>
                <a:lnTo>
                  <a:pt x="3417751" y="2106580"/>
                </a:lnTo>
                <a:lnTo>
                  <a:pt x="3407033" y="2151871"/>
                </a:lnTo>
                <a:lnTo>
                  <a:pt x="3395137" y="2196695"/>
                </a:lnTo>
                <a:lnTo>
                  <a:pt x="3382080" y="2241033"/>
                </a:lnTo>
                <a:lnTo>
                  <a:pt x="3367879" y="2284869"/>
                </a:lnTo>
                <a:lnTo>
                  <a:pt x="3352551" y="2328185"/>
                </a:lnTo>
                <a:lnTo>
                  <a:pt x="3336114" y="2370965"/>
                </a:lnTo>
                <a:lnTo>
                  <a:pt x="3318585" y="2413189"/>
                </a:lnTo>
                <a:lnTo>
                  <a:pt x="3299981" y="2454842"/>
                </a:lnTo>
                <a:lnTo>
                  <a:pt x="3280320" y="2495906"/>
                </a:lnTo>
                <a:lnTo>
                  <a:pt x="3259619" y="2536363"/>
                </a:lnTo>
                <a:lnTo>
                  <a:pt x="3237896" y="2576197"/>
                </a:lnTo>
                <a:lnTo>
                  <a:pt x="3215167" y="2615389"/>
                </a:lnTo>
                <a:lnTo>
                  <a:pt x="3191451" y="2653923"/>
                </a:lnTo>
                <a:lnTo>
                  <a:pt x="3166764" y="2691781"/>
                </a:lnTo>
                <a:lnTo>
                  <a:pt x="3141124" y="2728946"/>
                </a:lnTo>
                <a:lnTo>
                  <a:pt x="3114547" y="2765400"/>
                </a:lnTo>
                <a:lnTo>
                  <a:pt x="3087053" y="2801127"/>
                </a:lnTo>
                <a:lnTo>
                  <a:pt x="3058657" y="2836108"/>
                </a:lnTo>
                <a:lnTo>
                  <a:pt x="3029377" y="2870327"/>
                </a:lnTo>
                <a:lnTo>
                  <a:pt x="2999231" y="2903766"/>
                </a:lnTo>
                <a:lnTo>
                  <a:pt x="2968235" y="2936408"/>
                </a:lnTo>
                <a:lnTo>
                  <a:pt x="2936408" y="2968235"/>
                </a:lnTo>
                <a:lnTo>
                  <a:pt x="2903766" y="2999231"/>
                </a:lnTo>
                <a:lnTo>
                  <a:pt x="2870327" y="3029377"/>
                </a:lnTo>
                <a:lnTo>
                  <a:pt x="2836108" y="3058657"/>
                </a:lnTo>
                <a:lnTo>
                  <a:pt x="2801127" y="3087053"/>
                </a:lnTo>
                <a:lnTo>
                  <a:pt x="2765400" y="3114548"/>
                </a:lnTo>
                <a:lnTo>
                  <a:pt x="2728946" y="3141124"/>
                </a:lnTo>
                <a:lnTo>
                  <a:pt x="2691781" y="3166764"/>
                </a:lnTo>
                <a:lnTo>
                  <a:pt x="2653923" y="3191451"/>
                </a:lnTo>
                <a:lnTo>
                  <a:pt x="2615389" y="3215167"/>
                </a:lnTo>
                <a:lnTo>
                  <a:pt x="2576197" y="3237896"/>
                </a:lnTo>
                <a:lnTo>
                  <a:pt x="2536363" y="3259619"/>
                </a:lnTo>
                <a:lnTo>
                  <a:pt x="2495906" y="3280320"/>
                </a:lnTo>
                <a:lnTo>
                  <a:pt x="2454842" y="3299981"/>
                </a:lnTo>
                <a:lnTo>
                  <a:pt x="2413189" y="3318585"/>
                </a:lnTo>
                <a:lnTo>
                  <a:pt x="2370965" y="3336114"/>
                </a:lnTo>
                <a:lnTo>
                  <a:pt x="2328186" y="3352551"/>
                </a:lnTo>
                <a:lnTo>
                  <a:pt x="2284869" y="3367879"/>
                </a:lnTo>
                <a:lnTo>
                  <a:pt x="2241033" y="3382080"/>
                </a:lnTo>
                <a:lnTo>
                  <a:pt x="2196695" y="3395137"/>
                </a:lnTo>
                <a:lnTo>
                  <a:pt x="2151871" y="3407034"/>
                </a:lnTo>
                <a:lnTo>
                  <a:pt x="2106580" y="3417751"/>
                </a:lnTo>
                <a:lnTo>
                  <a:pt x="2060838" y="3427273"/>
                </a:lnTo>
                <a:lnTo>
                  <a:pt x="2014663" y="3435581"/>
                </a:lnTo>
                <a:lnTo>
                  <a:pt x="1968073" y="3442658"/>
                </a:lnTo>
                <a:lnTo>
                  <a:pt x="1921084" y="3448488"/>
                </a:lnTo>
                <a:lnTo>
                  <a:pt x="1873714" y="3453052"/>
                </a:lnTo>
                <a:lnTo>
                  <a:pt x="1825980" y="3456334"/>
                </a:lnTo>
                <a:lnTo>
                  <a:pt x="1777900" y="3458316"/>
                </a:lnTo>
                <a:lnTo>
                  <a:pt x="1729490" y="3458980"/>
                </a:lnTo>
                <a:close/>
              </a:path>
            </a:pathLst>
          </a:custGeom>
          <a:solidFill>
            <a:srgbClr val="2ABEC1"/>
          </a:solidFill>
        </p:spPr>
        <p:txBody>
          <a:bodyPr wrap="square" lIns="0" tIns="0" rIns="0" bIns="0" rtlCol="0"/>
          <a:lstStyle/>
          <a:p>
            <a:endParaRPr/>
          </a:p>
        </p:txBody>
      </p:sp>
      <p:sp>
        <p:nvSpPr>
          <p:cNvPr id="12" name="object 12"/>
          <p:cNvSpPr/>
          <p:nvPr/>
        </p:nvSpPr>
        <p:spPr>
          <a:xfrm>
            <a:off x="6310064" y="360051"/>
            <a:ext cx="2306319" cy="2306319"/>
          </a:xfrm>
          <a:custGeom>
            <a:avLst/>
            <a:gdLst/>
            <a:ahLst/>
            <a:cxnLst/>
            <a:rect l="l" t="t" r="r" b="b"/>
            <a:pathLst>
              <a:path w="3459479" h="3459479">
                <a:moveTo>
                  <a:pt x="1729490" y="3458981"/>
                </a:moveTo>
                <a:lnTo>
                  <a:pt x="1681081" y="3458316"/>
                </a:lnTo>
                <a:lnTo>
                  <a:pt x="1633001" y="3456335"/>
                </a:lnTo>
                <a:lnTo>
                  <a:pt x="1585267" y="3453053"/>
                </a:lnTo>
                <a:lnTo>
                  <a:pt x="1537897" y="3448488"/>
                </a:lnTo>
                <a:lnTo>
                  <a:pt x="1490908" y="3442659"/>
                </a:lnTo>
                <a:lnTo>
                  <a:pt x="1444317" y="3435581"/>
                </a:lnTo>
                <a:lnTo>
                  <a:pt x="1398142" y="3427273"/>
                </a:lnTo>
                <a:lnTo>
                  <a:pt x="1352400" y="3417751"/>
                </a:lnTo>
                <a:lnTo>
                  <a:pt x="1307109" y="3407034"/>
                </a:lnTo>
                <a:lnTo>
                  <a:pt x="1262286" y="3395138"/>
                </a:lnTo>
                <a:lnTo>
                  <a:pt x="1217947" y="3382080"/>
                </a:lnTo>
                <a:lnTo>
                  <a:pt x="1174111" y="3367879"/>
                </a:lnTo>
                <a:lnTo>
                  <a:pt x="1130795" y="3352551"/>
                </a:lnTo>
                <a:lnTo>
                  <a:pt x="1088016" y="3336114"/>
                </a:lnTo>
                <a:lnTo>
                  <a:pt x="1045791" y="3318585"/>
                </a:lnTo>
                <a:lnTo>
                  <a:pt x="1004138" y="3299981"/>
                </a:lnTo>
                <a:lnTo>
                  <a:pt x="963074" y="3280321"/>
                </a:lnTo>
                <a:lnTo>
                  <a:pt x="922617" y="3259620"/>
                </a:lnTo>
                <a:lnTo>
                  <a:pt x="882784" y="3237896"/>
                </a:lnTo>
                <a:lnTo>
                  <a:pt x="843591" y="3215168"/>
                </a:lnTo>
                <a:lnTo>
                  <a:pt x="805057" y="3191451"/>
                </a:lnTo>
                <a:lnTo>
                  <a:pt x="767199" y="3166764"/>
                </a:lnTo>
                <a:lnTo>
                  <a:pt x="730034" y="3141124"/>
                </a:lnTo>
                <a:lnTo>
                  <a:pt x="693580" y="3114548"/>
                </a:lnTo>
                <a:lnTo>
                  <a:pt x="657853" y="3087053"/>
                </a:lnTo>
                <a:lnTo>
                  <a:pt x="622872" y="3058657"/>
                </a:lnTo>
                <a:lnTo>
                  <a:pt x="588653" y="3029377"/>
                </a:lnTo>
                <a:lnTo>
                  <a:pt x="555214" y="2999231"/>
                </a:lnTo>
                <a:lnTo>
                  <a:pt x="522572" y="2968235"/>
                </a:lnTo>
                <a:lnTo>
                  <a:pt x="490745" y="2936408"/>
                </a:lnTo>
                <a:lnTo>
                  <a:pt x="459749" y="2903766"/>
                </a:lnTo>
                <a:lnTo>
                  <a:pt x="429603" y="2870327"/>
                </a:lnTo>
                <a:lnTo>
                  <a:pt x="400323" y="2836108"/>
                </a:lnTo>
                <a:lnTo>
                  <a:pt x="371927" y="2801127"/>
                </a:lnTo>
                <a:lnTo>
                  <a:pt x="344432" y="2765400"/>
                </a:lnTo>
                <a:lnTo>
                  <a:pt x="317856" y="2728946"/>
                </a:lnTo>
                <a:lnTo>
                  <a:pt x="292216" y="2691781"/>
                </a:lnTo>
                <a:lnTo>
                  <a:pt x="267529" y="2653923"/>
                </a:lnTo>
                <a:lnTo>
                  <a:pt x="243812" y="2615389"/>
                </a:lnTo>
                <a:lnTo>
                  <a:pt x="221084" y="2576197"/>
                </a:lnTo>
                <a:lnTo>
                  <a:pt x="199360" y="2536363"/>
                </a:lnTo>
                <a:lnTo>
                  <a:pt x="178660" y="2495906"/>
                </a:lnTo>
                <a:lnTo>
                  <a:pt x="158999" y="2454842"/>
                </a:lnTo>
                <a:lnTo>
                  <a:pt x="140395" y="2413189"/>
                </a:lnTo>
                <a:lnTo>
                  <a:pt x="122866" y="2370964"/>
                </a:lnTo>
                <a:lnTo>
                  <a:pt x="106429" y="2328185"/>
                </a:lnTo>
                <a:lnTo>
                  <a:pt x="91101" y="2284869"/>
                </a:lnTo>
                <a:lnTo>
                  <a:pt x="76900" y="2241033"/>
                </a:lnTo>
                <a:lnTo>
                  <a:pt x="63842" y="2196695"/>
                </a:lnTo>
                <a:lnTo>
                  <a:pt x="51946" y="2151871"/>
                </a:lnTo>
                <a:lnTo>
                  <a:pt x="41229" y="2106580"/>
                </a:lnTo>
                <a:lnTo>
                  <a:pt x="31707" y="2060838"/>
                </a:lnTo>
                <a:lnTo>
                  <a:pt x="23399" y="2014663"/>
                </a:lnTo>
                <a:lnTo>
                  <a:pt x="16321" y="1968072"/>
                </a:lnTo>
                <a:lnTo>
                  <a:pt x="10492" y="1921083"/>
                </a:lnTo>
                <a:lnTo>
                  <a:pt x="5927" y="1873713"/>
                </a:lnTo>
                <a:lnTo>
                  <a:pt x="2646" y="1825980"/>
                </a:lnTo>
                <a:lnTo>
                  <a:pt x="664" y="1777899"/>
                </a:lnTo>
                <a:lnTo>
                  <a:pt x="0" y="1729490"/>
                </a:lnTo>
                <a:lnTo>
                  <a:pt x="664" y="1681081"/>
                </a:lnTo>
                <a:lnTo>
                  <a:pt x="2646" y="1633001"/>
                </a:lnTo>
                <a:lnTo>
                  <a:pt x="5927" y="1585267"/>
                </a:lnTo>
                <a:lnTo>
                  <a:pt x="10492" y="1537897"/>
                </a:lnTo>
                <a:lnTo>
                  <a:pt x="16321" y="1490908"/>
                </a:lnTo>
                <a:lnTo>
                  <a:pt x="23399" y="1444317"/>
                </a:lnTo>
                <a:lnTo>
                  <a:pt x="31707" y="1398142"/>
                </a:lnTo>
                <a:lnTo>
                  <a:pt x="41229" y="1352400"/>
                </a:lnTo>
                <a:lnTo>
                  <a:pt x="51946" y="1307109"/>
                </a:lnTo>
                <a:lnTo>
                  <a:pt x="63842" y="1262286"/>
                </a:lnTo>
                <a:lnTo>
                  <a:pt x="76900" y="1217947"/>
                </a:lnTo>
                <a:lnTo>
                  <a:pt x="91101" y="1174111"/>
                </a:lnTo>
                <a:lnTo>
                  <a:pt x="106429" y="1130795"/>
                </a:lnTo>
                <a:lnTo>
                  <a:pt x="122866" y="1088016"/>
                </a:lnTo>
                <a:lnTo>
                  <a:pt x="140395" y="1045791"/>
                </a:lnTo>
                <a:lnTo>
                  <a:pt x="158999" y="1004138"/>
                </a:lnTo>
                <a:lnTo>
                  <a:pt x="178660" y="963074"/>
                </a:lnTo>
                <a:lnTo>
                  <a:pt x="199360" y="922617"/>
                </a:lnTo>
                <a:lnTo>
                  <a:pt x="221084" y="882784"/>
                </a:lnTo>
                <a:lnTo>
                  <a:pt x="243812" y="843591"/>
                </a:lnTo>
                <a:lnTo>
                  <a:pt x="267529" y="805057"/>
                </a:lnTo>
                <a:lnTo>
                  <a:pt x="292216" y="767199"/>
                </a:lnTo>
                <a:lnTo>
                  <a:pt x="317856" y="730034"/>
                </a:lnTo>
                <a:lnTo>
                  <a:pt x="344432" y="693580"/>
                </a:lnTo>
                <a:lnTo>
                  <a:pt x="371927" y="657853"/>
                </a:lnTo>
                <a:lnTo>
                  <a:pt x="400323" y="622872"/>
                </a:lnTo>
                <a:lnTo>
                  <a:pt x="429603" y="588653"/>
                </a:lnTo>
                <a:lnTo>
                  <a:pt x="459749" y="555214"/>
                </a:lnTo>
                <a:lnTo>
                  <a:pt x="490745" y="522572"/>
                </a:lnTo>
                <a:lnTo>
                  <a:pt x="522572" y="490745"/>
                </a:lnTo>
                <a:lnTo>
                  <a:pt x="555214" y="459749"/>
                </a:lnTo>
                <a:lnTo>
                  <a:pt x="588653" y="429603"/>
                </a:lnTo>
                <a:lnTo>
                  <a:pt x="622872" y="400323"/>
                </a:lnTo>
                <a:lnTo>
                  <a:pt x="657853" y="371927"/>
                </a:lnTo>
                <a:lnTo>
                  <a:pt x="693580" y="344432"/>
                </a:lnTo>
                <a:lnTo>
                  <a:pt x="730034" y="317856"/>
                </a:lnTo>
                <a:lnTo>
                  <a:pt x="767199" y="292216"/>
                </a:lnTo>
                <a:lnTo>
                  <a:pt x="805057" y="267529"/>
                </a:lnTo>
                <a:lnTo>
                  <a:pt x="843591" y="243812"/>
                </a:lnTo>
                <a:lnTo>
                  <a:pt x="882784" y="221084"/>
                </a:lnTo>
                <a:lnTo>
                  <a:pt x="922617" y="199360"/>
                </a:lnTo>
                <a:lnTo>
                  <a:pt x="963074" y="178660"/>
                </a:lnTo>
                <a:lnTo>
                  <a:pt x="1004138" y="158999"/>
                </a:lnTo>
                <a:lnTo>
                  <a:pt x="1045791" y="140395"/>
                </a:lnTo>
                <a:lnTo>
                  <a:pt x="1088016" y="122866"/>
                </a:lnTo>
                <a:lnTo>
                  <a:pt x="1130795" y="106429"/>
                </a:lnTo>
                <a:lnTo>
                  <a:pt x="1174111" y="91101"/>
                </a:lnTo>
                <a:lnTo>
                  <a:pt x="1217947" y="76900"/>
                </a:lnTo>
                <a:lnTo>
                  <a:pt x="1262286" y="63842"/>
                </a:lnTo>
                <a:lnTo>
                  <a:pt x="1307109" y="51946"/>
                </a:lnTo>
                <a:lnTo>
                  <a:pt x="1352400" y="41229"/>
                </a:lnTo>
                <a:lnTo>
                  <a:pt x="1398142" y="31707"/>
                </a:lnTo>
                <a:lnTo>
                  <a:pt x="1444317" y="23399"/>
                </a:lnTo>
                <a:lnTo>
                  <a:pt x="1490908" y="16321"/>
                </a:lnTo>
                <a:lnTo>
                  <a:pt x="1537897" y="10492"/>
                </a:lnTo>
                <a:lnTo>
                  <a:pt x="1585267" y="5927"/>
                </a:lnTo>
                <a:lnTo>
                  <a:pt x="1633001" y="2646"/>
                </a:lnTo>
                <a:lnTo>
                  <a:pt x="1681081" y="664"/>
                </a:lnTo>
                <a:lnTo>
                  <a:pt x="1729490" y="0"/>
                </a:lnTo>
                <a:lnTo>
                  <a:pt x="1777899" y="664"/>
                </a:lnTo>
                <a:lnTo>
                  <a:pt x="1825980" y="2646"/>
                </a:lnTo>
                <a:lnTo>
                  <a:pt x="1873713" y="5927"/>
                </a:lnTo>
                <a:lnTo>
                  <a:pt x="1921083" y="10492"/>
                </a:lnTo>
                <a:lnTo>
                  <a:pt x="1968072" y="16321"/>
                </a:lnTo>
                <a:lnTo>
                  <a:pt x="2014663" y="23399"/>
                </a:lnTo>
                <a:lnTo>
                  <a:pt x="2060838" y="31707"/>
                </a:lnTo>
                <a:lnTo>
                  <a:pt x="2106580" y="41229"/>
                </a:lnTo>
                <a:lnTo>
                  <a:pt x="2151871" y="51946"/>
                </a:lnTo>
                <a:lnTo>
                  <a:pt x="2196694" y="63842"/>
                </a:lnTo>
                <a:lnTo>
                  <a:pt x="2241033" y="76900"/>
                </a:lnTo>
                <a:lnTo>
                  <a:pt x="2284869" y="91101"/>
                </a:lnTo>
                <a:lnTo>
                  <a:pt x="2328185" y="106429"/>
                </a:lnTo>
                <a:lnTo>
                  <a:pt x="2370964" y="122866"/>
                </a:lnTo>
                <a:lnTo>
                  <a:pt x="2413189" y="140395"/>
                </a:lnTo>
                <a:lnTo>
                  <a:pt x="2454842" y="158999"/>
                </a:lnTo>
                <a:lnTo>
                  <a:pt x="2495906" y="178660"/>
                </a:lnTo>
                <a:lnTo>
                  <a:pt x="2536363" y="199360"/>
                </a:lnTo>
                <a:lnTo>
                  <a:pt x="2576196" y="221084"/>
                </a:lnTo>
                <a:lnTo>
                  <a:pt x="2615389" y="243812"/>
                </a:lnTo>
                <a:lnTo>
                  <a:pt x="2653923" y="267529"/>
                </a:lnTo>
                <a:lnTo>
                  <a:pt x="2691781" y="292216"/>
                </a:lnTo>
                <a:lnTo>
                  <a:pt x="2728946" y="317856"/>
                </a:lnTo>
                <a:lnTo>
                  <a:pt x="2765400" y="344432"/>
                </a:lnTo>
                <a:lnTo>
                  <a:pt x="2801127" y="371927"/>
                </a:lnTo>
                <a:lnTo>
                  <a:pt x="2836108" y="400323"/>
                </a:lnTo>
                <a:lnTo>
                  <a:pt x="2870327" y="429603"/>
                </a:lnTo>
                <a:lnTo>
                  <a:pt x="2903766" y="459749"/>
                </a:lnTo>
                <a:lnTo>
                  <a:pt x="2936408" y="490745"/>
                </a:lnTo>
                <a:lnTo>
                  <a:pt x="2968235" y="522572"/>
                </a:lnTo>
                <a:lnTo>
                  <a:pt x="2999231" y="555214"/>
                </a:lnTo>
                <a:lnTo>
                  <a:pt x="3029377" y="588653"/>
                </a:lnTo>
                <a:lnTo>
                  <a:pt x="3058657" y="622872"/>
                </a:lnTo>
                <a:lnTo>
                  <a:pt x="3087053" y="657853"/>
                </a:lnTo>
                <a:lnTo>
                  <a:pt x="3114548" y="693580"/>
                </a:lnTo>
                <a:lnTo>
                  <a:pt x="3141124" y="730034"/>
                </a:lnTo>
                <a:lnTo>
                  <a:pt x="3166764" y="767199"/>
                </a:lnTo>
                <a:lnTo>
                  <a:pt x="3191451" y="805057"/>
                </a:lnTo>
                <a:lnTo>
                  <a:pt x="3215168" y="843591"/>
                </a:lnTo>
                <a:lnTo>
                  <a:pt x="3237896" y="882784"/>
                </a:lnTo>
                <a:lnTo>
                  <a:pt x="3259620" y="922617"/>
                </a:lnTo>
                <a:lnTo>
                  <a:pt x="3280320" y="963074"/>
                </a:lnTo>
                <a:lnTo>
                  <a:pt x="3299981" y="1004138"/>
                </a:lnTo>
                <a:lnTo>
                  <a:pt x="3318585" y="1045791"/>
                </a:lnTo>
                <a:lnTo>
                  <a:pt x="3336114" y="1088016"/>
                </a:lnTo>
                <a:lnTo>
                  <a:pt x="3352551" y="1130795"/>
                </a:lnTo>
                <a:lnTo>
                  <a:pt x="3367879" y="1174111"/>
                </a:lnTo>
                <a:lnTo>
                  <a:pt x="3382081" y="1217947"/>
                </a:lnTo>
                <a:lnTo>
                  <a:pt x="3395138" y="1262286"/>
                </a:lnTo>
                <a:lnTo>
                  <a:pt x="3407034" y="1307109"/>
                </a:lnTo>
                <a:lnTo>
                  <a:pt x="3417751" y="1352400"/>
                </a:lnTo>
                <a:lnTo>
                  <a:pt x="3427273" y="1398142"/>
                </a:lnTo>
                <a:lnTo>
                  <a:pt x="3435581" y="1444317"/>
                </a:lnTo>
                <a:lnTo>
                  <a:pt x="3442659" y="1490908"/>
                </a:lnTo>
                <a:lnTo>
                  <a:pt x="3448489" y="1537897"/>
                </a:lnTo>
                <a:lnTo>
                  <a:pt x="3453053" y="1585267"/>
                </a:lnTo>
                <a:lnTo>
                  <a:pt x="3456335" y="1633001"/>
                </a:lnTo>
                <a:lnTo>
                  <a:pt x="3458316" y="1681081"/>
                </a:lnTo>
                <a:lnTo>
                  <a:pt x="3458981" y="1729490"/>
                </a:lnTo>
                <a:lnTo>
                  <a:pt x="3458316" y="1777899"/>
                </a:lnTo>
                <a:lnTo>
                  <a:pt x="3456335" y="1825980"/>
                </a:lnTo>
                <a:lnTo>
                  <a:pt x="3453053" y="1873713"/>
                </a:lnTo>
                <a:lnTo>
                  <a:pt x="3448489" y="1921083"/>
                </a:lnTo>
                <a:lnTo>
                  <a:pt x="3442659" y="1968072"/>
                </a:lnTo>
                <a:lnTo>
                  <a:pt x="3435581" y="2014663"/>
                </a:lnTo>
                <a:lnTo>
                  <a:pt x="3427273" y="2060838"/>
                </a:lnTo>
                <a:lnTo>
                  <a:pt x="3417751" y="2106580"/>
                </a:lnTo>
                <a:lnTo>
                  <a:pt x="3407034" y="2151871"/>
                </a:lnTo>
                <a:lnTo>
                  <a:pt x="3395138" y="2196695"/>
                </a:lnTo>
                <a:lnTo>
                  <a:pt x="3382081" y="2241033"/>
                </a:lnTo>
                <a:lnTo>
                  <a:pt x="3367879" y="2284869"/>
                </a:lnTo>
                <a:lnTo>
                  <a:pt x="3352551" y="2328185"/>
                </a:lnTo>
                <a:lnTo>
                  <a:pt x="3336114" y="2370964"/>
                </a:lnTo>
                <a:lnTo>
                  <a:pt x="3318585" y="2413189"/>
                </a:lnTo>
                <a:lnTo>
                  <a:pt x="3299981" y="2454842"/>
                </a:lnTo>
                <a:lnTo>
                  <a:pt x="3280320" y="2495906"/>
                </a:lnTo>
                <a:lnTo>
                  <a:pt x="3259620" y="2536363"/>
                </a:lnTo>
                <a:lnTo>
                  <a:pt x="3237896" y="2576197"/>
                </a:lnTo>
                <a:lnTo>
                  <a:pt x="3215168" y="2615389"/>
                </a:lnTo>
                <a:lnTo>
                  <a:pt x="3191451" y="2653923"/>
                </a:lnTo>
                <a:lnTo>
                  <a:pt x="3166764" y="2691781"/>
                </a:lnTo>
                <a:lnTo>
                  <a:pt x="3141124" y="2728946"/>
                </a:lnTo>
                <a:lnTo>
                  <a:pt x="3114548" y="2765400"/>
                </a:lnTo>
                <a:lnTo>
                  <a:pt x="3087053" y="2801127"/>
                </a:lnTo>
                <a:lnTo>
                  <a:pt x="3058657" y="2836108"/>
                </a:lnTo>
                <a:lnTo>
                  <a:pt x="3029377" y="2870327"/>
                </a:lnTo>
                <a:lnTo>
                  <a:pt x="2999231" y="2903766"/>
                </a:lnTo>
                <a:lnTo>
                  <a:pt x="2968235" y="2936408"/>
                </a:lnTo>
                <a:lnTo>
                  <a:pt x="2936408" y="2968235"/>
                </a:lnTo>
                <a:lnTo>
                  <a:pt x="2903766" y="2999231"/>
                </a:lnTo>
                <a:lnTo>
                  <a:pt x="2870327" y="3029377"/>
                </a:lnTo>
                <a:lnTo>
                  <a:pt x="2836108" y="3058657"/>
                </a:lnTo>
                <a:lnTo>
                  <a:pt x="2801127" y="3087053"/>
                </a:lnTo>
                <a:lnTo>
                  <a:pt x="2765400" y="3114548"/>
                </a:lnTo>
                <a:lnTo>
                  <a:pt x="2728946" y="3141124"/>
                </a:lnTo>
                <a:lnTo>
                  <a:pt x="2691781" y="3166764"/>
                </a:lnTo>
                <a:lnTo>
                  <a:pt x="2653923" y="3191451"/>
                </a:lnTo>
                <a:lnTo>
                  <a:pt x="2615389" y="3215168"/>
                </a:lnTo>
                <a:lnTo>
                  <a:pt x="2576196" y="3237896"/>
                </a:lnTo>
                <a:lnTo>
                  <a:pt x="2536363" y="3259620"/>
                </a:lnTo>
                <a:lnTo>
                  <a:pt x="2495906" y="3280321"/>
                </a:lnTo>
                <a:lnTo>
                  <a:pt x="2454842" y="3299981"/>
                </a:lnTo>
                <a:lnTo>
                  <a:pt x="2413189" y="3318585"/>
                </a:lnTo>
                <a:lnTo>
                  <a:pt x="2370964" y="3336114"/>
                </a:lnTo>
                <a:lnTo>
                  <a:pt x="2328185" y="3352551"/>
                </a:lnTo>
                <a:lnTo>
                  <a:pt x="2284869" y="3367879"/>
                </a:lnTo>
                <a:lnTo>
                  <a:pt x="2241033" y="3382080"/>
                </a:lnTo>
                <a:lnTo>
                  <a:pt x="2196694" y="3395138"/>
                </a:lnTo>
                <a:lnTo>
                  <a:pt x="2151871" y="3407034"/>
                </a:lnTo>
                <a:lnTo>
                  <a:pt x="2106580" y="3417751"/>
                </a:lnTo>
                <a:lnTo>
                  <a:pt x="2060838" y="3427273"/>
                </a:lnTo>
                <a:lnTo>
                  <a:pt x="2014663" y="3435581"/>
                </a:lnTo>
                <a:lnTo>
                  <a:pt x="1968072" y="3442659"/>
                </a:lnTo>
                <a:lnTo>
                  <a:pt x="1921083" y="3448488"/>
                </a:lnTo>
                <a:lnTo>
                  <a:pt x="1873713" y="3453053"/>
                </a:lnTo>
                <a:lnTo>
                  <a:pt x="1825980" y="3456335"/>
                </a:lnTo>
                <a:lnTo>
                  <a:pt x="1777899" y="3458316"/>
                </a:lnTo>
                <a:lnTo>
                  <a:pt x="1729490" y="3458981"/>
                </a:lnTo>
                <a:close/>
              </a:path>
            </a:pathLst>
          </a:custGeom>
          <a:solidFill>
            <a:srgbClr val="FF8F45"/>
          </a:solidFill>
        </p:spPr>
        <p:txBody>
          <a:bodyPr wrap="square" lIns="0" tIns="0" rIns="0" bIns="0" rtlCol="0"/>
          <a:lstStyle/>
          <a:p>
            <a:endParaRPr/>
          </a:p>
        </p:txBody>
      </p:sp>
      <p:sp>
        <p:nvSpPr>
          <p:cNvPr id="13" name="object 13"/>
          <p:cNvSpPr/>
          <p:nvPr/>
        </p:nvSpPr>
        <p:spPr>
          <a:xfrm>
            <a:off x="9577934" y="3362864"/>
            <a:ext cx="2415117" cy="2415117"/>
          </a:xfrm>
          <a:custGeom>
            <a:avLst/>
            <a:gdLst/>
            <a:ahLst/>
            <a:cxnLst/>
            <a:rect l="l" t="t" r="r" b="b"/>
            <a:pathLst>
              <a:path w="3622675" h="3622675">
                <a:moveTo>
                  <a:pt x="1811134" y="3622266"/>
                </a:moveTo>
                <a:lnTo>
                  <a:pt x="1762884" y="3621636"/>
                </a:lnTo>
                <a:lnTo>
                  <a:pt x="1714946" y="3619756"/>
                </a:lnTo>
                <a:lnTo>
                  <a:pt x="1667335" y="3616641"/>
                </a:lnTo>
                <a:lnTo>
                  <a:pt x="1620066" y="3612308"/>
                </a:lnTo>
                <a:lnTo>
                  <a:pt x="1573156" y="3606771"/>
                </a:lnTo>
                <a:lnTo>
                  <a:pt x="1526619" y="3600048"/>
                </a:lnTo>
                <a:lnTo>
                  <a:pt x="1480472" y="3592152"/>
                </a:lnTo>
                <a:lnTo>
                  <a:pt x="1434730" y="3583100"/>
                </a:lnTo>
                <a:lnTo>
                  <a:pt x="1389409" y="3572908"/>
                </a:lnTo>
                <a:lnTo>
                  <a:pt x="1344524" y="3561591"/>
                </a:lnTo>
                <a:lnTo>
                  <a:pt x="1300092" y="3549164"/>
                </a:lnTo>
                <a:lnTo>
                  <a:pt x="1256127" y="3535644"/>
                </a:lnTo>
                <a:lnTo>
                  <a:pt x="1212645" y="3521046"/>
                </a:lnTo>
                <a:lnTo>
                  <a:pt x="1169662" y="3505386"/>
                </a:lnTo>
                <a:lnTo>
                  <a:pt x="1127194" y="3488680"/>
                </a:lnTo>
                <a:lnTo>
                  <a:pt x="1085257" y="3470942"/>
                </a:lnTo>
                <a:lnTo>
                  <a:pt x="1043865" y="3452189"/>
                </a:lnTo>
                <a:lnTo>
                  <a:pt x="1003035" y="3432436"/>
                </a:lnTo>
                <a:lnTo>
                  <a:pt x="962782" y="3411699"/>
                </a:lnTo>
                <a:lnTo>
                  <a:pt x="923122" y="3389994"/>
                </a:lnTo>
                <a:lnTo>
                  <a:pt x="884071" y="3367336"/>
                </a:lnTo>
                <a:lnTo>
                  <a:pt x="845644" y="3343741"/>
                </a:lnTo>
                <a:lnTo>
                  <a:pt x="807856" y="3319225"/>
                </a:lnTo>
                <a:lnTo>
                  <a:pt x="770724" y="3293802"/>
                </a:lnTo>
                <a:lnTo>
                  <a:pt x="734264" y="3267490"/>
                </a:lnTo>
                <a:lnTo>
                  <a:pt x="698489" y="3240303"/>
                </a:lnTo>
                <a:lnTo>
                  <a:pt x="663418" y="3212257"/>
                </a:lnTo>
                <a:lnTo>
                  <a:pt x="629064" y="3183368"/>
                </a:lnTo>
                <a:lnTo>
                  <a:pt x="595444" y="3153651"/>
                </a:lnTo>
                <a:lnTo>
                  <a:pt x="562574" y="3123123"/>
                </a:lnTo>
                <a:lnTo>
                  <a:pt x="530468" y="3091798"/>
                </a:lnTo>
                <a:lnTo>
                  <a:pt x="499143" y="3059692"/>
                </a:lnTo>
                <a:lnTo>
                  <a:pt x="468615" y="3026822"/>
                </a:lnTo>
                <a:lnTo>
                  <a:pt x="438898" y="2993202"/>
                </a:lnTo>
                <a:lnTo>
                  <a:pt x="410009" y="2958848"/>
                </a:lnTo>
                <a:lnTo>
                  <a:pt x="381963" y="2923777"/>
                </a:lnTo>
                <a:lnTo>
                  <a:pt x="354776" y="2888002"/>
                </a:lnTo>
                <a:lnTo>
                  <a:pt x="328464" y="2851542"/>
                </a:lnTo>
                <a:lnTo>
                  <a:pt x="303041" y="2814410"/>
                </a:lnTo>
                <a:lnTo>
                  <a:pt x="278525" y="2776622"/>
                </a:lnTo>
                <a:lnTo>
                  <a:pt x="254930" y="2738195"/>
                </a:lnTo>
                <a:lnTo>
                  <a:pt x="232272" y="2699144"/>
                </a:lnTo>
                <a:lnTo>
                  <a:pt x="210567" y="2659484"/>
                </a:lnTo>
                <a:lnTo>
                  <a:pt x="189830" y="2619231"/>
                </a:lnTo>
                <a:lnTo>
                  <a:pt x="170077" y="2578401"/>
                </a:lnTo>
                <a:lnTo>
                  <a:pt x="151324" y="2537009"/>
                </a:lnTo>
                <a:lnTo>
                  <a:pt x="133586" y="2495072"/>
                </a:lnTo>
                <a:lnTo>
                  <a:pt x="116880" y="2452604"/>
                </a:lnTo>
                <a:lnTo>
                  <a:pt x="101220" y="2409621"/>
                </a:lnTo>
                <a:lnTo>
                  <a:pt x="86622" y="2366139"/>
                </a:lnTo>
                <a:lnTo>
                  <a:pt x="73102" y="2322174"/>
                </a:lnTo>
                <a:lnTo>
                  <a:pt x="60675" y="2277742"/>
                </a:lnTo>
                <a:lnTo>
                  <a:pt x="49358" y="2232857"/>
                </a:lnTo>
                <a:lnTo>
                  <a:pt x="39166" y="2187536"/>
                </a:lnTo>
                <a:lnTo>
                  <a:pt x="30114" y="2141794"/>
                </a:lnTo>
                <a:lnTo>
                  <a:pt x="22218" y="2095647"/>
                </a:lnTo>
                <a:lnTo>
                  <a:pt x="15494" y="2049110"/>
                </a:lnTo>
                <a:lnTo>
                  <a:pt x="9958" y="2002200"/>
                </a:lnTo>
                <a:lnTo>
                  <a:pt x="5625" y="1954931"/>
                </a:lnTo>
                <a:lnTo>
                  <a:pt x="2510" y="1907320"/>
                </a:lnTo>
                <a:lnTo>
                  <a:pt x="630" y="1859382"/>
                </a:lnTo>
                <a:lnTo>
                  <a:pt x="0" y="1811132"/>
                </a:lnTo>
                <a:lnTo>
                  <a:pt x="630" y="1762883"/>
                </a:lnTo>
                <a:lnTo>
                  <a:pt x="2510" y="1714945"/>
                </a:lnTo>
                <a:lnTo>
                  <a:pt x="5625" y="1667334"/>
                </a:lnTo>
                <a:lnTo>
                  <a:pt x="9958" y="1620065"/>
                </a:lnTo>
                <a:lnTo>
                  <a:pt x="15494" y="1573155"/>
                </a:lnTo>
                <a:lnTo>
                  <a:pt x="22218" y="1526618"/>
                </a:lnTo>
                <a:lnTo>
                  <a:pt x="30114" y="1480471"/>
                </a:lnTo>
                <a:lnTo>
                  <a:pt x="39166" y="1434729"/>
                </a:lnTo>
                <a:lnTo>
                  <a:pt x="49358" y="1389408"/>
                </a:lnTo>
                <a:lnTo>
                  <a:pt x="60675" y="1344523"/>
                </a:lnTo>
                <a:lnTo>
                  <a:pt x="73102" y="1300091"/>
                </a:lnTo>
                <a:lnTo>
                  <a:pt x="86622" y="1256126"/>
                </a:lnTo>
                <a:lnTo>
                  <a:pt x="101220" y="1212644"/>
                </a:lnTo>
                <a:lnTo>
                  <a:pt x="116880" y="1169662"/>
                </a:lnTo>
                <a:lnTo>
                  <a:pt x="133586" y="1127194"/>
                </a:lnTo>
                <a:lnTo>
                  <a:pt x="151324" y="1085256"/>
                </a:lnTo>
                <a:lnTo>
                  <a:pt x="170077" y="1043865"/>
                </a:lnTo>
                <a:lnTo>
                  <a:pt x="189830" y="1003035"/>
                </a:lnTo>
                <a:lnTo>
                  <a:pt x="210567" y="962782"/>
                </a:lnTo>
                <a:lnTo>
                  <a:pt x="232272" y="923122"/>
                </a:lnTo>
                <a:lnTo>
                  <a:pt x="254930" y="884070"/>
                </a:lnTo>
                <a:lnTo>
                  <a:pt x="278525" y="845643"/>
                </a:lnTo>
                <a:lnTo>
                  <a:pt x="303041" y="807856"/>
                </a:lnTo>
                <a:lnTo>
                  <a:pt x="328464" y="770724"/>
                </a:lnTo>
                <a:lnTo>
                  <a:pt x="354776" y="734263"/>
                </a:lnTo>
                <a:lnTo>
                  <a:pt x="381963" y="698489"/>
                </a:lnTo>
                <a:lnTo>
                  <a:pt x="410009" y="663418"/>
                </a:lnTo>
                <a:lnTo>
                  <a:pt x="438898" y="629064"/>
                </a:lnTo>
                <a:lnTo>
                  <a:pt x="468615" y="595444"/>
                </a:lnTo>
                <a:lnTo>
                  <a:pt x="499143" y="562574"/>
                </a:lnTo>
                <a:lnTo>
                  <a:pt x="530468" y="530468"/>
                </a:lnTo>
                <a:lnTo>
                  <a:pt x="562574" y="499143"/>
                </a:lnTo>
                <a:lnTo>
                  <a:pt x="595444" y="468615"/>
                </a:lnTo>
                <a:lnTo>
                  <a:pt x="629064" y="438898"/>
                </a:lnTo>
                <a:lnTo>
                  <a:pt x="663418" y="410009"/>
                </a:lnTo>
                <a:lnTo>
                  <a:pt x="698489" y="381963"/>
                </a:lnTo>
                <a:lnTo>
                  <a:pt x="734264" y="354776"/>
                </a:lnTo>
                <a:lnTo>
                  <a:pt x="770724" y="328464"/>
                </a:lnTo>
                <a:lnTo>
                  <a:pt x="807856" y="303041"/>
                </a:lnTo>
                <a:lnTo>
                  <a:pt x="845644" y="278525"/>
                </a:lnTo>
                <a:lnTo>
                  <a:pt x="884071" y="254930"/>
                </a:lnTo>
                <a:lnTo>
                  <a:pt x="923122" y="232272"/>
                </a:lnTo>
                <a:lnTo>
                  <a:pt x="962782" y="210567"/>
                </a:lnTo>
                <a:lnTo>
                  <a:pt x="1003035" y="189830"/>
                </a:lnTo>
                <a:lnTo>
                  <a:pt x="1043865" y="170077"/>
                </a:lnTo>
                <a:lnTo>
                  <a:pt x="1085257" y="151324"/>
                </a:lnTo>
                <a:lnTo>
                  <a:pt x="1127194" y="133586"/>
                </a:lnTo>
                <a:lnTo>
                  <a:pt x="1169662" y="116880"/>
                </a:lnTo>
                <a:lnTo>
                  <a:pt x="1212645" y="101219"/>
                </a:lnTo>
                <a:lnTo>
                  <a:pt x="1256127" y="86622"/>
                </a:lnTo>
                <a:lnTo>
                  <a:pt x="1300092" y="73102"/>
                </a:lnTo>
                <a:lnTo>
                  <a:pt x="1344524" y="60675"/>
                </a:lnTo>
                <a:lnTo>
                  <a:pt x="1389409" y="49358"/>
                </a:lnTo>
                <a:lnTo>
                  <a:pt x="1434730" y="39166"/>
                </a:lnTo>
                <a:lnTo>
                  <a:pt x="1480472" y="30114"/>
                </a:lnTo>
                <a:lnTo>
                  <a:pt x="1526619" y="22218"/>
                </a:lnTo>
                <a:lnTo>
                  <a:pt x="1573156" y="15494"/>
                </a:lnTo>
                <a:lnTo>
                  <a:pt x="1620066" y="9958"/>
                </a:lnTo>
                <a:lnTo>
                  <a:pt x="1667335" y="5625"/>
                </a:lnTo>
                <a:lnTo>
                  <a:pt x="1714946" y="2510"/>
                </a:lnTo>
                <a:lnTo>
                  <a:pt x="1762884" y="630"/>
                </a:lnTo>
                <a:lnTo>
                  <a:pt x="1811134" y="0"/>
                </a:lnTo>
                <a:lnTo>
                  <a:pt x="1859383" y="630"/>
                </a:lnTo>
                <a:lnTo>
                  <a:pt x="1907321" y="2510"/>
                </a:lnTo>
                <a:lnTo>
                  <a:pt x="1954932" y="5625"/>
                </a:lnTo>
                <a:lnTo>
                  <a:pt x="2002201" y="9958"/>
                </a:lnTo>
                <a:lnTo>
                  <a:pt x="2049111" y="15494"/>
                </a:lnTo>
                <a:lnTo>
                  <a:pt x="2095647" y="22218"/>
                </a:lnTo>
                <a:lnTo>
                  <a:pt x="2141795" y="30114"/>
                </a:lnTo>
                <a:lnTo>
                  <a:pt x="2187536" y="39166"/>
                </a:lnTo>
                <a:lnTo>
                  <a:pt x="2232858" y="49358"/>
                </a:lnTo>
                <a:lnTo>
                  <a:pt x="2277742" y="60675"/>
                </a:lnTo>
                <a:lnTo>
                  <a:pt x="2322175" y="73102"/>
                </a:lnTo>
                <a:lnTo>
                  <a:pt x="2366140" y="86622"/>
                </a:lnTo>
                <a:lnTo>
                  <a:pt x="2409621" y="101219"/>
                </a:lnTo>
                <a:lnTo>
                  <a:pt x="2452604" y="116880"/>
                </a:lnTo>
                <a:lnTo>
                  <a:pt x="2495072" y="133586"/>
                </a:lnTo>
                <a:lnTo>
                  <a:pt x="2537009" y="151324"/>
                </a:lnTo>
                <a:lnTo>
                  <a:pt x="2578401" y="170077"/>
                </a:lnTo>
                <a:lnTo>
                  <a:pt x="2619231" y="189830"/>
                </a:lnTo>
                <a:lnTo>
                  <a:pt x="2659484" y="210567"/>
                </a:lnTo>
                <a:lnTo>
                  <a:pt x="2699144" y="232272"/>
                </a:lnTo>
                <a:lnTo>
                  <a:pt x="2738195" y="254930"/>
                </a:lnTo>
                <a:lnTo>
                  <a:pt x="2776622" y="278525"/>
                </a:lnTo>
                <a:lnTo>
                  <a:pt x="2814410" y="303041"/>
                </a:lnTo>
                <a:lnTo>
                  <a:pt x="2851542" y="328464"/>
                </a:lnTo>
                <a:lnTo>
                  <a:pt x="2888002" y="354776"/>
                </a:lnTo>
                <a:lnTo>
                  <a:pt x="2923776" y="381963"/>
                </a:lnTo>
                <a:lnTo>
                  <a:pt x="2958848" y="410009"/>
                </a:lnTo>
                <a:lnTo>
                  <a:pt x="2993202" y="438898"/>
                </a:lnTo>
                <a:lnTo>
                  <a:pt x="3026821" y="468615"/>
                </a:lnTo>
                <a:lnTo>
                  <a:pt x="3059692" y="499143"/>
                </a:lnTo>
                <a:lnTo>
                  <a:pt x="3091797" y="530468"/>
                </a:lnTo>
                <a:lnTo>
                  <a:pt x="3123122" y="562574"/>
                </a:lnTo>
                <a:lnTo>
                  <a:pt x="3153651" y="595444"/>
                </a:lnTo>
                <a:lnTo>
                  <a:pt x="3183368" y="629064"/>
                </a:lnTo>
                <a:lnTo>
                  <a:pt x="3212257" y="663418"/>
                </a:lnTo>
                <a:lnTo>
                  <a:pt x="3240302" y="698489"/>
                </a:lnTo>
                <a:lnTo>
                  <a:pt x="3267489" y="734263"/>
                </a:lnTo>
                <a:lnTo>
                  <a:pt x="3293802" y="770724"/>
                </a:lnTo>
                <a:lnTo>
                  <a:pt x="3319224" y="807856"/>
                </a:lnTo>
                <a:lnTo>
                  <a:pt x="3343741" y="845643"/>
                </a:lnTo>
                <a:lnTo>
                  <a:pt x="3367336" y="884070"/>
                </a:lnTo>
                <a:lnTo>
                  <a:pt x="3389994" y="923122"/>
                </a:lnTo>
                <a:lnTo>
                  <a:pt x="3411699" y="962782"/>
                </a:lnTo>
                <a:lnTo>
                  <a:pt x="3432436" y="1003035"/>
                </a:lnTo>
                <a:lnTo>
                  <a:pt x="3452188" y="1043865"/>
                </a:lnTo>
                <a:lnTo>
                  <a:pt x="3470941" y="1085256"/>
                </a:lnTo>
                <a:lnTo>
                  <a:pt x="3488679" y="1127194"/>
                </a:lnTo>
                <a:lnTo>
                  <a:pt x="3505386" y="1169662"/>
                </a:lnTo>
                <a:lnTo>
                  <a:pt x="3521046" y="1212644"/>
                </a:lnTo>
                <a:lnTo>
                  <a:pt x="3535644" y="1256126"/>
                </a:lnTo>
                <a:lnTo>
                  <a:pt x="3549164" y="1300091"/>
                </a:lnTo>
                <a:lnTo>
                  <a:pt x="3561590" y="1344523"/>
                </a:lnTo>
                <a:lnTo>
                  <a:pt x="3572907" y="1389408"/>
                </a:lnTo>
                <a:lnTo>
                  <a:pt x="3583100" y="1434729"/>
                </a:lnTo>
                <a:lnTo>
                  <a:pt x="3592152" y="1480471"/>
                </a:lnTo>
                <a:lnTo>
                  <a:pt x="3600047" y="1526618"/>
                </a:lnTo>
                <a:lnTo>
                  <a:pt x="3606771" y="1573155"/>
                </a:lnTo>
                <a:lnTo>
                  <a:pt x="3612308" y="1620065"/>
                </a:lnTo>
                <a:lnTo>
                  <a:pt x="3616641" y="1667334"/>
                </a:lnTo>
                <a:lnTo>
                  <a:pt x="3619756" y="1714945"/>
                </a:lnTo>
                <a:lnTo>
                  <a:pt x="3621636" y="1762883"/>
                </a:lnTo>
                <a:lnTo>
                  <a:pt x="3622266" y="1811132"/>
                </a:lnTo>
                <a:lnTo>
                  <a:pt x="3621636" y="1859382"/>
                </a:lnTo>
                <a:lnTo>
                  <a:pt x="3619756" y="1907320"/>
                </a:lnTo>
                <a:lnTo>
                  <a:pt x="3616641" y="1954931"/>
                </a:lnTo>
                <a:lnTo>
                  <a:pt x="3612308" y="2002200"/>
                </a:lnTo>
                <a:lnTo>
                  <a:pt x="3606771" y="2049110"/>
                </a:lnTo>
                <a:lnTo>
                  <a:pt x="3600047" y="2095647"/>
                </a:lnTo>
                <a:lnTo>
                  <a:pt x="3592152" y="2141794"/>
                </a:lnTo>
                <a:lnTo>
                  <a:pt x="3583100" y="2187536"/>
                </a:lnTo>
                <a:lnTo>
                  <a:pt x="3572907" y="2232857"/>
                </a:lnTo>
                <a:lnTo>
                  <a:pt x="3561590" y="2277742"/>
                </a:lnTo>
                <a:lnTo>
                  <a:pt x="3549164" y="2322174"/>
                </a:lnTo>
                <a:lnTo>
                  <a:pt x="3535644" y="2366139"/>
                </a:lnTo>
                <a:lnTo>
                  <a:pt x="3521046" y="2409621"/>
                </a:lnTo>
                <a:lnTo>
                  <a:pt x="3505386" y="2452604"/>
                </a:lnTo>
                <a:lnTo>
                  <a:pt x="3488679" y="2495072"/>
                </a:lnTo>
                <a:lnTo>
                  <a:pt x="3470941" y="2537009"/>
                </a:lnTo>
                <a:lnTo>
                  <a:pt x="3452188" y="2578401"/>
                </a:lnTo>
                <a:lnTo>
                  <a:pt x="3432436" y="2619231"/>
                </a:lnTo>
                <a:lnTo>
                  <a:pt x="3411699" y="2659484"/>
                </a:lnTo>
                <a:lnTo>
                  <a:pt x="3389994" y="2699144"/>
                </a:lnTo>
                <a:lnTo>
                  <a:pt x="3367336" y="2738195"/>
                </a:lnTo>
                <a:lnTo>
                  <a:pt x="3343741" y="2776622"/>
                </a:lnTo>
                <a:lnTo>
                  <a:pt x="3319224" y="2814410"/>
                </a:lnTo>
                <a:lnTo>
                  <a:pt x="3293802" y="2851542"/>
                </a:lnTo>
                <a:lnTo>
                  <a:pt x="3267489" y="2888002"/>
                </a:lnTo>
                <a:lnTo>
                  <a:pt x="3240302" y="2923777"/>
                </a:lnTo>
                <a:lnTo>
                  <a:pt x="3212257" y="2958848"/>
                </a:lnTo>
                <a:lnTo>
                  <a:pt x="3183368" y="2993202"/>
                </a:lnTo>
                <a:lnTo>
                  <a:pt x="3153651" y="3026822"/>
                </a:lnTo>
                <a:lnTo>
                  <a:pt x="3123122" y="3059692"/>
                </a:lnTo>
                <a:lnTo>
                  <a:pt x="3091797" y="3091798"/>
                </a:lnTo>
                <a:lnTo>
                  <a:pt x="3059692" y="3123123"/>
                </a:lnTo>
                <a:lnTo>
                  <a:pt x="3026821" y="3153651"/>
                </a:lnTo>
                <a:lnTo>
                  <a:pt x="2993202" y="3183368"/>
                </a:lnTo>
                <a:lnTo>
                  <a:pt x="2958848" y="3212257"/>
                </a:lnTo>
                <a:lnTo>
                  <a:pt x="2923776" y="3240303"/>
                </a:lnTo>
                <a:lnTo>
                  <a:pt x="2888002" y="3267490"/>
                </a:lnTo>
                <a:lnTo>
                  <a:pt x="2851542" y="3293802"/>
                </a:lnTo>
                <a:lnTo>
                  <a:pt x="2814410" y="3319225"/>
                </a:lnTo>
                <a:lnTo>
                  <a:pt x="2776622" y="3343741"/>
                </a:lnTo>
                <a:lnTo>
                  <a:pt x="2738195" y="3367336"/>
                </a:lnTo>
                <a:lnTo>
                  <a:pt x="2699144" y="3389994"/>
                </a:lnTo>
                <a:lnTo>
                  <a:pt x="2659484" y="3411699"/>
                </a:lnTo>
                <a:lnTo>
                  <a:pt x="2619231" y="3432436"/>
                </a:lnTo>
                <a:lnTo>
                  <a:pt x="2578401" y="3452189"/>
                </a:lnTo>
                <a:lnTo>
                  <a:pt x="2537009" y="3470942"/>
                </a:lnTo>
                <a:lnTo>
                  <a:pt x="2495072" y="3488680"/>
                </a:lnTo>
                <a:lnTo>
                  <a:pt x="2452604" y="3505386"/>
                </a:lnTo>
                <a:lnTo>
                  <a:pt x="2409621" y="3521046"/>
                </a:lnTo>
                <a:lnTo>
                  <a:pt x="2366140" y="3535644"/>
                </a:lnTo>
                <a:lnTo>
                  <a:pt x="2322175" y="3549164"/>
                </a:lnTo>
                <a:lnTo>
                  <a:pt x="2277742" y="3561591"/>
                </a:lnTo>
                <a:lnTo>
                  <a:pt x="2232858" y="3572908"/>
                </a:lnTo>
                <a:lnTo>
                  <a:pt x="2187536" y="3583100"/>
                </a:lnTo>
                <a:lnTo>
                  <a:pt x="2141795" y="3592152"/>
                </a:lnTo>
                <a:lnTo>
                  <a:pt x="2095647" y="3600048"/>
                </a:lnTo>
                <a:lnTo>
                  <a:pt x="2049111" y="3606771"/>
                </a:lnTo>
                <a:lnTo>
                  <a:pt x="2002201" y="3612308"/>
                </a:lnTo>
                <a:lnTo>
                  <a:pt x="1954932" y="3616641"/>
                </a:lnTo>
                <a:lnTo>
                  <a:pt x="1907321" y="3619756"/>
                </a:lnTo>
                <a:lnTo>
                  <a:pt x="1859383" y="3621636"/>
                </a:lnTo>
                <a:lnTo>
                  <a:pt x="1811134" y="3622266"/>
                </a:lnTo>
                <a:close/>
              </a:path>
            </a:pathLst>
          </a:custGeom>
          <a:solidFill>
            <a:srgbClr val="32C2B1"/>
          </a:solidFill>
        </p:spPr>
        <p:txBody>
          <a:bodyPr wrap="square" lIns="0" tIns="0" rIns="0" bIns="0" rtlCol="0"/>
          <a:lstStyle/>
          <a:p>
            <a:endParaRPr/>
          </a:p>
        </p:txBody>
      </p:sp>
      <p:sp>
        <p:nvSpPr>
          <p:cNvPr id="14" name="object 14"/>
          <p:cNvSpPr txBox="1"/>
          <p:nvPr/>
        </p:nvSpPr>
        <p:spPr>
          <a:xfrm>
            <a:off x="9859187" y="3603147"/>
            <a:ext cx="1852507" cy="1770803"/>
          </a:xfrm>
          <a:prstGeom prst="rect">
            <a:avLst/>
          </a:prstGeom>
        </p:spPr>
        <p:txBody>
          <a:bodyPr vert="horz" wrap="square" lIns="0" tIns="8467" rIns="0" bIns="0" rtlCol="0">
            <a:spAutoFit/>
          </a:bodyPr>
          <a:lstStyle/>
          <a:p>
            <a:pPr marL="92715" marR="115576" algn="ctr">
              <a:lnSpc>
                <a:spcPct val="114599"/>
              </a:lnSpc>
              <a:spcBef>
                <a:spcPts val="67"/>
              </a:spcBef>
            </a:pPr>
            <a:r>
              <a:rPr sz="1600" b="1" spc="40" dirty="0">
                <a:solidFill>
                  <a:srgbClr val="FFFFFF"/>
                </a:solidFill>
                <a:latin typeface="Trebuchet MS"/>
                <a:cs typeface="Trebuchet MS"/>
              </a:rPr>
              <a:t>Charisse </a:t>
            </a:r>
            <a:r>
              <a:rPr sz="1600" b="1" spc="-7" dirty="0">
                <a:solidFill>
                  <a:srgbClr val="FFFFFF"/>
                </a:solidFill>
                <a:latin typeface="Trebuchet MS"/>
                <a:cs typeface="Trebuchet MS"/>
              </a:rPr>
              <a:t>Montgomery,</a:t>
            </a:r>
            <a:r>
              <a:rPr sz="1600" b="1" spc="-80" dirty="0">
                <a:solidFill>
                  <a:srgbClr val="FFFFFF"/>
                </a:solidFill>
                <a:latin typeface="Trebuchet MS"/>
                <a:cs typeface="Trebuchet MS"/>
              </a:rPr>
              <a:t> </a:t>
            </a:r>
            <a:r>
              <a:rPr sz="1600" b="1" spc="-17" dirty="0">
                <a:solidFill>
                  <a:srgbClr val="FFFFFF"/>
                </a:solidFill>
                <a:latin typeface="Trebuchet MS"/>
                <a:cs typeface="Trebuchet MS"/>
              </a:rPr>
              <a:t>BS, </a:t>
            </a:r>
            <a:r>
              <a:rPr sz="1600" b="1" dirty="0">
                <a:solidFill>
                  <a:srgbClr val="FFFFFF"/>
                </a:solidFill>
                <a:latin typeface="Trebuchet MS"/>
                <a:cs typeface="Trebuchet MS"/>
              </a:rPr>
              <a:t>CLC,</a:t>
            </a:r>
            <a:r>
              <a:rPr sz="1600" b="1" spc="-30" dirty="0">
                <a:solidFill>
                  <a:srgbClr val="FFFFFF"/>
                </a:solidFill>
                <a:latin typeface="Trebuchet MS"/>
                <a:cs typeface="Trebuchet MS"/>
              </a:rPr>
              <a:t> </a:t>
            </a:r>
            <a:r>
              <a:rPr sz="1600" b="1" spc="47" dirty="0">
                <a:solidFill>
                  <a:srgbClr val="FFFFFF"/>
                </a:solidFill>
                <a:latin typeface="Trebuchet MS"/>
                <a:cs typeface="Trebuchet MS"/>
              </a:rPr>
              <a:t>CIMI,</a:t>
            </a:r>
            <a:r>
              <a:rPr sz="1600" b="1" spc="-30" dirty="0">
                <a:solidFill>
                  <a:srgbClr val="FFFFFF"/>
                </a:solidFill>
                <a:latin typeface="Trebuchet MS"/>
                <a:cs typeface="Trebuchet MS"/>
              </a:rPr>
              <a:t> </a:t>
            </a:r>
            <a:r>
              <a:rPr sz="1600" b="1" spc="53" dirty="0">
                <a:solidFill>
                  <a:srgbClr val="FFFFFF"/>
                </a:solidFill>
                <a:latin typeface="Trebuchet MS"/>
                <a:cs typeface="Trebuchet MS"/>
              </a:rPr>
              <a:t>CCPS, </a:t>
            </a:r>
            <a:r>
              <a:rPr sz="1600" b="1" spc="47" dirty="0">
                <a:solidFill>
                  <a:srgbClr val="FFFFFF"/>
                </a:solidFill>
                <a:latin typeface="Trebuchet MS"/>
                <a:cs typeface="Trebuchet MS"/>
              </a:rPr>
              <a:t>CHW</a:t>
            </a:r>
            <a:endParaRPr sz="1600">
              <a:latin typeface="Trebuchet MS"/>
              <a:cs typeface="Trebuchet MS"/>
            </a:endParaRPr>
          </a:p>
          <a:p>
            <a:pPr algn="ctr">
              <a:lnSpc>
                <a:spcPts val="1307"/>
              </a:lnSpc>
            </a:pPr>
            <a:r>
              <a:rPr sz="1333" b="1" spc="67" dirty="0">
                <a:solidFill>
                  <a:srgbClr val="FFFFFF"/>
                </a:solidFill>
                <a:latin typeface="Trebuchet MS"/>
                <a:cs typeface="Trebuchet MS"/>
              </a:rPr>
              <a:t>CO-</a:t>
            </a:r>
            <a:r>
              <a:rPr sz="1333" b="1" spc="-7" dirty="0">
                <a:solidFill>
                  <a:srgbClr val="FFFFFF"/>
                </a:solidFill>
                <a:latin typeface="Trebuchet MS"/>
                <a:cs typeface="Trebuchet MS"/>
              </a:rPr>
              <a:t>FACALITATOR.</a:t>
            </a:r>
            <a:endParaRPr sz="1333">
              <a:latin typeface="Trebuchet MS"/>
              <a:cs typeface="Trebuchet MS"/>
            </a:endParaRPr>
          </a:p>
          <a:p>
            <a:pPr marL="8044" marR="3387" algn="ctr">
              <a:lnSpc>
                <a:spcPct val="115599"/>
              </a:lnSpc>
            </a:pPr>
            <a:r>
              <a:rPr sz="1333" b="1" spc="76" dirty="0">
                <a:solidFill>
                  <a:srgbClr val="FFFFFF"/>
                </a:solidFill>
                <a:latin typeface="Trebuchet MS"/>
                <a:cs typeface="Trebuchet MS"/>
              </a:rPr>
              <a:t>COMMMUNITY</a:t>
            </a:r>
            <a:r>
              <a:rPr sz="1333" b="1" spc="-57" dirty="0">
                <a:solidFill>
                  <a:srgbClr val="FFFFFF"/>
                </a:solidFill>
                <a:latin typeface="Trebuchet MS"/>
                <a:cs typeface="Trebuchet MS"/>
              </a:rPr>
              <a:t> </a:t>
            </a:r>
            <a:r>
              <a:rPr sz="1333" b="1" spc="-37" dirty="0">
                <a:solidFill>
                  <a:srgbClr val="FFFFFF"/>
                </a:solidFill>
                <a:latin typeface="Trebuchet MS"/>
                <a:cs typeface="Trebuchet MS"/>
              </a:rPr>
              <a:t>HEALTH </a:t>
            </a:r>
            <a:r>
              <a:rPr sz="1333" b="1" spc="-7" dirty="0">
                <a:solidFill>
                  <a:srgbClr val="FFFFFF"/>
                </a:solidFill>
                <a:latin typeface="Trebuchet MS"/>
                <a:cs typeface="Trebuchet MS"/>
              </a:rPr>
              <a:t>WORKER</a:t>
            </a:r>
            <a:endParaRPr sz="1333">
              <a:latin typeface="Trebuchet MS"/>
              <a:cs typeface="Trebuchet MS"/>
            </a:endParaRPr>
          </a:p>
        </p:txBody>
      </p:sp>
      <p:sp>
        <p:nvSpPr>
          <p:cNvPr id="15" name="object 15"/>
          <p:cNvSpPr txBox="1"/>
          <p:nvPr/>
        </p:nvSpPr>
        <p:spPr>
          <a:xfrm>
            <a:off x="1160028" y="236267"/>
            <a:ext cx="1232323" cy="220133"/>
          </a:xfrm>
          <a:prstGeom prst="rect">
            <a:avLst/>
          </a:prstGeom>
        </p:spPr>
        <p:txBody>
          <a:bodyPr vert="horz" wrap="square" lIns="0" tIns="8467" rIns="0" bIns="0" rtlCol="0">
            <a:spAutoFit/>
          </a:bodyPr>
          <a:lstStyle/>
          <a:p>
            <a:pPr marL="8467">
              <a:lnSpc>
                <a:spcPct val="100000"/>
              </a:lnSpc>
              <a:spcBef>
                <a:spcPts val="67"/>
              </a:spcBef>
            </a:pPr>
            <a:r>
              <a:rPr sz="1333" b="1" spc="-73" dirty="0">
                <a:solidFill>
                  <a:srgbClr val="FF8F45"/>
                </a:solidFill>
                <a:latin typeface="Trebuchet MS"/>
                <a:cs typeface="Trebuchet MS"/>
              </a:rPr>
              <a:t>THE</a:t>
            </a:r>
            <a:r>
              <a:rPr sz="1333" b="1" spc="-63" dirty="0">
                <a:solidFill>
                  <a:srgbClr val="FF8F45"/>
                </a:solidFill>
                <a:latin typeface="Trebuchet MS"/>
                <a:cs typeface="Trebuchet MS"/>
              </a:rPr>
              <a:t> </a:t>
            </a:r>
            <a:r>
              <a:rPr sz="1333" b="1" dirty="0">
                <a:solidFill>
                  <a:srgbClr val="FF8F45"/>
                </a:solidFill>
                <a:latin typeface="Trebuchet MS"/>
                <a:cs typeface="Trebuchet MS"/>
              </a:rPr>
              <a:t>DOULA</a:t>
            </a:r>
            <a:r>
              <a:rPr sz="1333" b="1" spc="-60" dirty="0">
                <a:solidFill>
                  <a:srgbClr val="FF8F45"/>
                </a:solidFill>
                <a:latin typeface="Trebuchet MS"/>
                <a:cs typeface="Trebuchet MS"/>
              </a:rPr>
              <a:t> </a:t>
            </a:r>
            <a:r>
              <a:rPr sz="1333" b="1" spc="-17" dirty="0">
                <a:solidFill>
                  <a:srgbClr val="FF8F45"/>
                </a:solidFill>
                <a:latin typeface="Trebuchet MS"/>
                <a:cs typeface="Trebuchet MS"/>
              </a:rPr>
              <a:t>LAB</a:t>
            </a:r>
            <a:endParaRPr sz="1333">
              <a:latin typeface="Trebuchet MS"/>
              <a:cs typeface="Trebuchet MS"/>
            </a:endParaRPr>
          </a:p>
        </p:txBody>
      </p:sp>
      <p:sp>
        <p:nvSpPr>
          <p:cNvPr id="16" name="object 16"/>
          <p:cNvSpPr txBox="1">
            <a:spLocks noGrp="1"/>
          </p:cNvSpPr>
          <p:nvPr>
            <p:ph type="title"/>
          </p:nvPr>
        </p:nvSpPr>
        <p:spPr>
          <a:xfrm>
            <a:off x="501417" y="751645"/>
            <a:ext cx="2605617" cy="1458947"/>
          </a:xfrm>
          <a:prstGeom prst="rect">
            <a:avLst/>
          </a:prstGeom>
        </p:spPr>
        <p:txBody>
          <a:bodyPr vert="horz" wrap="square" lIns="0" tIns="22437" rIns="0" bIns="0" rtlCol="0">
            <a:spAutoFit/>
          </a:bodyPr>
          <a:lstStyle/>
          <a:p>
            <a:pPr marL="8467" marR="3387">
              <a:lnSpc>
                <a:spcPts val="5554"/>
              </a:lnSpc>
              <a:spcBef>
                <a:spcPts val="177"/>
              </a:spcBef>
            </a:pPr>
            <a:r>
              <a:rPr spc="117" dirty="0"/>
              <a:t>Meet</a:t>
            </a:r>
            <a:r>
              <a:rPr spc="-230" dirty="0"/>
              <a:t> </a:t>
            </a:r>
            <a:r>
              <a:rPr spc="-17" dirty="0"/>
              <a:t>Our </a:t>
            </a:r>
            <a:r>
              <a:rPr spc="-13" dirty="0"/>
              <a:t>Team</a:t>
            </a:r>
          </a:p>
        </p:txBody>
      </p:sp>
      <p:sp>
        <p:nvSpPr>
          <p:cNvPr id="17" name="object 17"/>
          <p:cNvSpPr txBox="1"/>
          <p:nvPr/>
        </p:nvSpPr>
        <p:spPr>
          <a:xfrm>
            <a:off x="207191" y="2566078"/>
            <a:ext cx="3965787" cy="1652693"/>
          </a:xfrm>
          <a:prstGeom prst="rect">
            <a:avLst/>
          </a:prstGeom>
        </p:spPr>
        <p:txBody>
          <a:bodyPr vert="horz" wrap="square" lIns="0" tIns="8043" rIns="0" bIns="0" rtlCol="0">
            <a:spAutoFit/>
          </a:bodyPr>
          <a:lstStyle/>
          <a:p>
            <a:pPr marL="8467" marR="659162">
              <a:lnSpc>
                <a:spcPct val="116599"/>
              </a:lnSpc>
              <a:spcBef>
                <a:spcPts val="63"/>
              </a:spcBef>
            </a:pPr>
            <a:r>
              <a:rPr sz="2467" b="1" spc="-30" dirty="0">
                <a:solidFill>
                  <a:srgbClr val="2ABEC1"/>
                </a:solidFill>
                <a:latin typeface="Trebuchet MS"/>
                <a:cs typeface="Trebuchet MS"/>
              </a:rPr>
              <a:t>Together</a:t>
            </a:r>
            <a:r>
              <a:rPr sz="2467" b="1" spc="-136" dirty="0">
                <a:solidFill>
                  <a:srgbClr val="2ABEC1"/>
                </a:solidFill>
                <a:latin typeface="Trebuchet MS"/>
                <a:cs typeface="Trebuchet MS"/>
              </a:rPr>
              <a:t> </a:t>
            </a:r>
            <a:r>
              <a:rPr sz="2467" b="1" dirty="0">
                <a:solidFill>
                  <a:srgbClr val="2ABEC1"/>
                </a:solidFill>
                <a:latin typeface="Trebuchet MS"/>
                <a:cs typeface="Trebuchet MS"/>
              </a:rPr>
              <a:t>we</a:t>
            </a:r>
            <a:r>
              <a:rPr sz="2467" b="1" spc="-136" dirty="0">
                <a:solidFill>
                  <a:srgbClr val="2ABEC1"/>
                </a:solidFill>
                <a:latin typeface="Trebuchet MS"/>
                <a:cs typeface="Trebuchet MS"/>
              </a:rPr>
              <a:t> </a:t>
            </a:r>
            <a:r>
              <a:rPr sz="2467" b="1" spc="67" dirty="0">
                <a:solidFill>
                  <a:srgbClr val="2ABEC1"/>
                </a:solidFill>
                <a:latin typeface="Trebuchet MS"/>
                <a:cs typeface="Trebuchet MS"/>
              </a:rPr>
              <a:t>can</a:t>
            </a:r>
            <a:r>
              <a:rPr sz="2467" b="1" spc="-136" dirty="0">
                <a:solidFill>
                  <a:srgbClr val="2ABEC1"/>
                </a:solidFill>
                <a:latin typeface="Trebuchet MS"/>
                <a:cs typeface="Trebuchet MS"/>
              </a:rPr>
              <a:t> </a:t>
            </a:r>
            <a:r>
              <a:rPr sz="2467" b="1" spc="33" dirty="0">
                <a:solidFill>
                  <a:srgbClr val="2ABEC1"/>
                </a:solidFill>
                <a:latin typeface="Trebuchet MS"/>
                <a:cs typeface="Trebuchet MS"/>
              </a:rPr>
              <a:t>do</a:t>
            </a:r>
            <a:r>
              <a:rPr sz="2467" b="1" spc="-133" dirty="0">
                <a:solidFill>
                  <a:srgbClr val="2ABEC1"/>
                </a:solidFill>
                <a:latin typeface="Trebuchet MS"/>
                <a:cs typeface="Trebuchet MS"/>
              </a:rPr>
              <a:t> </a:t>
            </a:r>
            <a:r>
              <a:rPr sz="2467" b="1" spc="70" dirty="0">
                <a:solidFill>
                  <a:srgbClr val="2ABEC1"/>
                </a:solidFill>
                <a:latin typeface="Trebuchet MS"/>
                <a:cs typeface="Trebuchet MS"/>
              </a:rPr>
              <a:t>so </a:t>
            </a:r>
            <a:r>
              <a:rPr sz="2467" b="1" spc="-7" dirty="0">
                <a:solidFill>
                  <a:srgbClr val="2ABEC1"/>
                </a:solidFill>
                <a:latin typeface="Trebuchet MS"/>
                <a:cs typeface="Trebuchet MS"/>
              </a:rPr>
              <a:t>much.</a:t>
            </a:r>
            <a:endParaRPr sz="2467">
              <a:latin typeface="Trebuchet MS"/>
              <a:cs typeface="Trebuchet MS"/>
            </a:endParaRPr>
          </a:p>
          <a:p>
            <a:pPr marL="8467" marR="3387">
              <a:lnSpc>
                <a:spcPct val="115199"/>
              </a:lnSpc>
              <a:spcBef>
                <a:spcPts val="1276"/>
              </a:spcBef>
            </a:pPr>
            <a:r>
              <a:rPr sz="1700" dirty="0">
                <a:latin typeface="Arial Black"/>
                <a:cs typeface="Arial Black"/>
              </a:rPr>
              <a:t>We</a:t>
            </a:r>
            <a:r>
              <a:rPr sz="1700" spc="7" dirty="0">
                <a:latin typeface="Arial Black"/>
                <a:cs typeface="Arial Black"/>
              </a:rPr>
              <a:t> </a:t>
            </a:r>
            <a:r>
              <a:rPr sz="1700" dirty="0">
                <a:latin typeface="Arial Black"/>
                <a:cs typeface="Arial Black"/>
              </a:rPr>
              <a:t>are</a:t>
            </a:r>
            <a:r>
              <a:rPr sz="1700" spc="10" dirty="0">
                <a:latin typeface="Arial Black"/>
                <a:cs typeface="Arial Black"/>
              </a:rPr>
              <a:t> </a:t>
            </a:r>
            <a:r>
              <a:rPr sz="1700" dirty="0">
                <a:latin typeface="Arial Black"/>
                <a:cs typeface="Arial Black"/>
              </a:rPr>
              <a:t>a</a:t>
            </a:r>
            <a:r>
              <a:rPr sz="1700" spc="7" dirty="0">
                <a:latin typeface="Arial Black"/>
                <a:cs typeface="Arial Black"/>
              </a:rPr>
              <a:t> </a:t>
            </a:r>
            <a:r>
              <a:rPr sz="1700" spc="-7" dirty="0">
                <a:latin typeface="Arial Black"/>
                <a:cs typeface="Arial Black"/>
              </a:rPr>
              <a:t>team</a:t>
            </a:r>
            <a:r>
              <a:rPr sz="1700" spc="10" dirty="0">
                <a:latin typeface="Arial Black"/>
                <a:cs typeface="Arial Black"/>
              </a:rPr>
              <a:t> </a:t>
            </a:r>
            <a:r>
              <a:rPr sz="1700" dirty="0">
                <a:latin typeface="Arial Black"/>
                <a:cs typeface="Arial Black"/>
              </a:rPr>
              <a:t>of</a:t>
            </a:r>
            <a:r>
              <a:rPr sz="1700" spc="7" dirty="0">
                <a:latin typeface="Arial Black"/>
                <a:cs typeface="Arial Black"/>
              </a:rPr>
              <a:t> </a:t>
            </a:r>
            <a:r>
              <a:rPr sz="1700" spc="-103" dirty="0">
                <a:latin typeface="Arial Black"/>
                <a:cs typeface="Arial Black"/>
              </a:rPr>
              <a:t>BIPOC</a:t>
            </a:r>
            <a:r>
              <a:rPr sz="1700" spc="10" dirty="0">
                <a:latin typeface="Arial Black"/>
                <a:cs typeface="Arial Black"/>
              </a:rPr>
              <a:t> </a:t>
            </a:r>
            <a:r>
              <a:rPr sz="1700" dirty="0">
                <a:latin typeface="Arial Black"/>
                <a:cs typeface="Arial Black"/>
              </a:rPr>
              <a:t>who</a:t>
            </a:r>
            <a:r>
              <a:rPr sz="1700" spc="7" dirty="0">
                <a:latin typeface="Arial Black"/>
                <a:cs typeface="Arial Black"/>
              </a:rPr>
              <a:t> </a:t>
            </a:r>
            <a:r>
              <a:rPr sz="1700" spc="-53" dirty="0">
                <a:latin typeface="Arial Black"/>
                <a:cs typeface="Arial Black"/>
              </a:rPr>
              <a:t>have </a:t>
            </a:r>
            <a:r>
              <a:rPr sz="1700" spc="-17" dirty="0">
                <a:latin typeface="Arial Black"/>
                <a:cs typeface="Arial Black"/>
              </a:rPr>
              <a:t>united</a:t>
            </a:r>
            <a:r>
              <a:rPr sz="1700" spc="-76" dirty="0">
                <a:latin typeface="Arial Black"/>
                <a:cs typeface="Arial Black"/>
              </a:rPr>
              <a:t> </a:t>
            </a:r>
            <a:r>
              <a:rPr sz="1700" spc="-13" dirty="0">
                <a:latin typeface="Arial Black"/>
                <a:cs typeface="Arial Black"/>
              </a:rPr>
              <a:t>with</a:t>
            </a:r>
            <a:r>
              <a:rPr sz="1700" spc="-73" dirty="0">
                <a:latin typeface="Arial Black"/>
                <a:cs typeface="Arial Black"/>
              </a:rPr>
              <a:t> </a:t>
            </a:r>
            <a:r>
              <a:rPr sz="1700" dirty="0">
                <a:latin typeface="Arial Black"/>
                <a:cs typeface="Arial Black"/>
              </a:rPr>
              <a:t>our</a:t>
            </a:r>
            <a:r>
              <a:rPr sz="1700" spc="-76" dirty="0">
                <a:latin typeface="Arial Black"/>
                <a:cs typeface="Arial Black"/>
              </a:rPr>
              <a:t> </a:t>
            </a:r>
            <a:r>
              <a:rPr sz="1700" spc="-47" dirty="0">
                <a:latin typeface="Arial Black"/>
                <a:cs typeface="Arial Black"/>
              </a:rPr>
              <a:t>particular</a:t>
            </a:r>
            <a:r>
              <a:rPr sz="1700" spc="-73" dirty="0">
                <a:latin typeface="Arial Black"/>
                <a:cs typeface="Arial Black"/>
              </a:rPr>
              <a:t> </a:t>
            </a:r>
            <a:r>
              <a:rPr sz="1700" spc="-53" dirty="0">
                <a:latin typeface="Arial Black"/>
                <a:cs typeface="Arial Black"/>
              </a:rPr>
              <a:t>skill</a:t>
            </a:r>
            <a:r>
              <a:rPr sz="1700" spc="-76" dirty="0">
                <a:latin typeface="Arial Black"/>
                <a:cs typeface="Arial Black"/>
              </a:rPr>
              <a:t> </a:t>
            </a:r>
            <a:r>
              <a:rPr sz="1700" spc="-100" dirty="0">
                <a:latin typeface="Arial Black"/>
                <a:cs typeface="Arial Black"/>
              </a:rPr>
              <a:t>sets</a:t>
            </a:r>
            <a:endParaRPr sz="1700">
              <a:latin typeface="Arial Black"/>
              <a:cs typeface="Arial Black"/>
            </a:endParaRPr>
          </a:p>
        </p:txBody>
      </p:sp>
      <p:sp>
        <p:nvSpPr>
          <p:cNvPr id="18" name="object 18"/>
          <p:cNvSpPr txBox="1"/>
          <p:nvPr/>
        </p:nvSpPr>
        <p:spPr>
          <a:xfrm>
            <a:off x="207191" y="4201432"/>
            <a:ext cx="3965787" cy="1509183"/>
          </a:xfrm>
          <a:prstGeom prst="rect">
            <a:avLst/>
          </a:prstGeom>
        </p:spPr>
        <p:txBody>
          <a:bodyPr vert="horz" wrap="square" lIns="0" tIns="8043" rIns="0" bIns="0" rtlCol="0">
            <a:spAutoFit/>
          </a:bodyPr>
          <a:lstStyle/>
          <a:p>
            <a:pPr marL="8467" marR="3387" algn="just">
              <a:lnSpc>
                <a:spcPct val="115199"/>
              </a:lnSpc>
              <a:spcBef>
                <a:spcPts val="63"/>
              </a:spcBef>
            </a:pPr>
            <a:r>
              <a:rPr sz="1700" dirty="0">
                <a:latin typeface="Arial Black"/>
                <a:cs typeface="Arial Black"/>
              </a:rPr>
              <a:t>and</a:t>
            </a:r>
            <a:r>
              <a:rPr sz="1700" spc="250" dirty="0">
                <a:latin typeface="Arial Black"/>
                <a:cs typeface="Arial Black"/>
              </a:rPr>
              <a:t>  </a:t>
            </a:r>
            <a:r>
              <a:rPr sz="1700" dirty="0">
                <a:latin typeface="Arial Black"/>
                <a:cs typeface="Arial Black"/>
              </a:rPr>
              <a:t>passion</a:t>
            </a:r>
            <a:r>
              <a:rPr sz="1700" spc="253" dirty="0">
                <a:latin typeface="Arial Black"/>
                <a:cs typeface="Arial Black"/>
              </a:rPr>
              <a:t>  </a:t>
            </a:r>
            <a:r>
              <a:rPr sz="1700" dirty="0">
                <a:latin typeface="Arial Black"/>
                <a:cs typeface="Arial Black"/>
              </a:rPr>
              <a:t>to</a:t>
            </a:r>
            <a:r>
              <a:rPr sz="1700" spc="250" dirty="0">
                <a:latin typeface="Arial Black"/>
                <a:cs typeface="Arial Black"/>
              </a:rPr>
              <a:t>  </a:t>
            </a:r>
            <a:r>
              <a:rPr sz="1700" dirty="0">
                <a:latin typeface="Arial Black"/>
                <a:cs typeface="Arial Black"/>
              </a:rPr>
              <a:t>serve</a:t>
            </a:r>
            <a:r>
              <a:rPr sz="1700" spc="250" dirty="0">
                <a:latin typeface="Arial Black"/>
                <a:cs typeface="Arial Black"/>
              </a:rPr>
              <a:t>  </a:t>
            </a:r>
            <a:r>
              <a:rPr sz="1700" spc="-37" dirty="0">
                <a:latin typeface="Arial Black"/>
                <a:cs typeface="Arial Black"/>
              </a:rPr>
              <a:t>birthing </a:t>
            </a:r>
            <a:r>
              <a:rPr sz="1700" spc="-80" dirty="0">
                <a:latin typeface="Arial Black"/>
                <a:cs typeface="Arial Black"/>
              </a:rPr>
              <a:t>families</a:t>
            </a:r>
            <a:r>
              <a:rPr sz="1700" spc="-63" dirty="0">
                <a:latin typeface="Arial Black"/>
                <a:cs typeface="Arial Black"/>
              </a:rPr>
              <a:t> </a:t>
            </a:r>
            <a:r>
              <a:rPr sz="1700" dirty="0">
                <a:latin typeface="Arial Black"/>
                <a:cs typeface="Arial Black"/>
              </a:rPr>
              <a:t>in</a:t>
            </a:r>
            <a:r>
              <a:rPr sz="1700" spc="407" dirty="0">
                <a:latin typeface="Arial Black"/>
                <a:cs typeface="Arial Black"/>
              </a:rPr>
              <a:t> </a:t>
            </a:r>
            <a:r>
              <a:rPr sz="1700" dirty="0">
                <a:latin typeface="Arial Black"/>
                <a:cs typeface="Arial Black"/>
              </a:rPr>
              <a:t>our</a:t>
            </a:r>
            <a:r>
              <a:rPr sz="1700" spc="-73" dirty="0">
                <a:latin typeface="Arial Black"/>
                <a:cs typeface="Arial Black"/>
              </a:rPr>
              <a:t> </a:t>
            </a:r>
            <a:r>
              <a:rPr sz="1700" spc="-80" dirty="0">
                <a:latin typeface="Arial Black"/>
                <a:cs typeface="Arial Black"/>
              </a:rPr>
              <a:t>communities'</a:t>
            </a:r>
            <a:r>
              <a:rPr sz="1700" spc="-63" dirty="0">
                <a:latin typeface="Arial Black"/>
                <a:cs typeface="Arial Black"/>
              </a:rPr>
              <a:t> </a:t>
            </a:r>
            <a:r>
              <a:rPr sz="1700" spc="-50" dirty="0">
                <a:latin typeface="Arial Black"/>
                <a:cs typeface="Arial Black"/>
              </a:rPr>
              <a:t>and</a:t>
            </a:r>
            <a:r>
              <a:rPr sz="1700" spc="-73" dirty="0">
                <a:latin typeface="Arial Black"/>
                <a:cs typeface="Arial Black"/>
              </a:rPr>
              <a:t> </a:t>
            </a:r>
            <a:r>
              <a:rPr sz="1700" spc="-17" dirty="0">
                <a:latin typeface="Arial Black"/>
                <a:cs typeface="Arial Black"/>
              </a:rPr>
              <a:t>of </a:t>
            </a:r>
            <a:r>
              <a:rPr sz="1700" dirty="0">
                <a:latin typeface="Arial Black"/>
                <a:cs typeface="Arial Black"/>
              </a:rPr>
              <a:t>all</a:t>
            </a:r>
            <a:r>
              <a:rPr sz="1700" spc="100" dirty="0">
                <a:latin typeface="Arial Black"/>
                <a:cs typeface="Arial Black"/>
              </a:rPr>
              <a:t> </a:t>
            </a:r>
            <a:r>
              <a:rPr sz="1700" spc="-7" dirty="0">
                <a:latin typeface="Arial Black"/>
                <a:cs typeface="Arial Black"/>
              </a:rPr>
              <a:t>ages</a:t>
            </a:r>
            <a:r>
              <a:rPr sz="1700" spc="100" dirty="0">
                <a:latin typeface="Arial Black"/>
                <a:cs typeface="Arial Black"/>
              </a:rPr>
              <a:t> </a:t>
            </a:r>
            <a:r>
              <a:rPr sz="1700" spc="-53" dirty="0">
                <a:latin typeface="Arial Black"/>
                <a:cs typeface="Arial Black"/>
              </a:rPr>
              <a:t>stages</a:t>
            </a:r>
            <a:r>
              <a:rPr sz="1700" spc="103" dirty="0">
                <a:latin typeface="Arial Black"/>
                <a:cs typeface="Arial Black"/>
              </a:rPr>
              <a:t> </a:t>
            </a:r>
            <a:r>
              <a:rPr sz="1700" dirty="0">
                <a:latin typeface="Arial Black"/>
                <a:cs typeface="Arial Black"/>
              </a:rPr>
              <a:t>and</a:t>
            </a:r>
            <a:r>
              <a:rPr sz="1700" spc="100" dirty="0">
                <a:latin typeface="Arial Black"/>
                <a:cs typeface="Arial Black"/>
              </a:rPr>
              <a:t> </a:t>
            </a:r>
            <a:r>
              <a:rPr sz="1700" spc="-30" dirty="0">
                <a:latin typeface="Arial Black"/>
                <a:cs typeface="Arial Black"/>
              </a:rPr>
              <a:t>phases</a:t>
            </a:r>
            <a:r>
              <a:rPr sz="1700" spc="100" dirty="0">
                <a:latin typeface="Arial Black"/>
                <a:cs typeface="Arial Black"/>
              </a:rPr>
              <a:t> </a:t>
            </a:r>
            <a:r>
              <a:rPr sz="1700" dirty="0">
                <a:latin typeface="Arial Black"/>
                <a:cs typeface="Arial Black"/>
              </a:rPr>
              <a:t>of</a:t>
            </a:r>
            <a:r>
              <a:rPr sz="1700" spc="100" dirty="0">
                <a:latin typeface="Arial Black"/>
                <a:cs typeface="Arial Black"/>
              </a:rPr>
              <a:t> </a:t>
            </a:r>
            <a:r>
              <a:rPr sz="1700" spc="-30" dirty="0">
                <a:latin typeface="Arial Black"/>
                <a:cs typeface="Arial Black"/>
              </a:rPr>
              <a:t>life </a:t>
            </a:r>
            <a:r>
              <a:rPr sz="1700" dirty="0">
                <a:latin typeface="Arial Black"/>
                <a:cs typeface="Arial Black"/>
              </a:rPr>
              <a:t>with</a:t>
            </a:r>
            <a:r>
              <a:rPr sz="1700" spc="297" dirty="0">
                <a:latin typeface="Arial Black"/>
                <a:cs typeface="Arial Black"/>
              </a:rPr>
              <a:t>     </a:t>
            </a:r>
            <a:r>
              <a:rPr sz="1700" dirty="0">
                <a:latin typeface="Arial Black"/>
                <a:cs typeface="Arial Black"/>
              </a:rPr>
              <a:t>education,</a:t>
            </a:r>
            <a:r>
              <a:rPr sz="1700" spc="303" dirty="0">
                <a:latin typeface="Arial Black"/>
                <a:cs typeface="Arial Black"/>
              </a:rPr>
              <a:t>     </a:t>
            </a:r>
            <a:r>
              <a:rPr sz="1700" spc="-113" dirty="0">
                <a:latin typeface="Arial Black"/>
                <a:cs typeface="Arial Black"/>
              </a:rPr>
              <a:t>advocacy, </a:t>
            </a:r>
            <a:r>
              <a:rPr sz="1700" spc="-76" dirty="0">
                <a:latin typeface="Arial Black"/>
                <a:cs typeface="Arial Black"/>
              </a:rPr>
              <a:t>empowerment,</a:t>
            </a:r>
            <a:r>
              <a:rPr sz="1700" spc="-47" dirty="0">
                <a:latin typeface="Arial Black"/>
                <a:cs typeface="Arial Black"/>
              </a:rPr>
              <a:t> </a:t>
            </a:r>
            <a:r>
              <a:rPr sz="1700" spc="-63" dirty="0">
                <a:latin typeface="Arial Black"/>
                <a:cs typeface="Arial Black"/>
              </a:rPr>
              <a:t>support</a:t>
            </a:r>
            <a:r>
              <a:rPr sz="1700" spc="-47" dirty="0">
                <a:latin typeface="Arial Black"/>
                <a:cs typeface="Arial Black"/>
              </a:rPr>
              <a:t> </a:t>
            </a:r>
            <a:r>
              <a:rPr sz="1700" spc="-53" dirty="0">
                <a:latin typeface="Arial Black"/>
                <a:cs typeface="Arial Black"/>
              </a:rPr>
              <a:t>and</a:t>
            </a:r>
            <a:r>
              <a:rPr sz="1700" spc="-50" dirty="0">
                <a:latin typeface="Arial Black"/>
                <a:cs typeface="Arial Black"/>
              </a:rPr>
              <a:t> </a:t>
            </a:r>
            <a:r>
              <a:rPr sz="1700" spc="-40" dirty="0">
                <a:latin typeface="Arial Black"/>
                <a:cs typeface="Arial Black"/>
              </a:rPr>
              <a:t>provide</a:t>
            </a:r>
            <a:endParaRPr sz="1700">
              <a:latin typeface="Arial Black"/>
              <a:cs typeface="Arial Black"/>
            </a:endParaRPr>
          </a:p>
        </p:txBody>
      </p:sp>
      <p:sp>
        <p:nvSpPr>
          <p:cNvPr id="19" name="object 19"/>
          <p:cNvSpPr txBox="1"/>
          <p:nvPr/>
        </p:nvSpPr>
        <p:spPr>
          <a:xfrm>
            <a:off x="207191" y="5693682"/>
            <a:ext cx="3965787" cy="912283"/>
          </a:xfrm>
          <a:prstGeom prst="rect">
            <a:avLst/>
          </a:prstGeom>
        </p:spPr>
        <p:txBody>
          <a:bodyPr vert="horz" wrap="square" lIns="0" tIns="8043" rIns="0" bIns="0" rtlCol="0">
            <a:spAutoFit/>
          </a:bodyPr>
          <a:lstStyle/>
          <a:p>
            <a:pPr marL="8467" marR="3387" algn="just">
              <a:lnSpc>
                <a:spcPct val="115199"/>
              </a:lnSpc>
              <a:spcBef>
                <a:spcPts val="63"/>
              </a:spcBef>
            </a:pPr>
            <a:r>
              <a:rPr sz="1700" spc="-97" dirty="0">
                <a:latin typeface="Arial Black"/>
                <a:cs typeface="Arial Black"/>
              </a:rPr>
              <a:t>resources</a:t>
            </a:r>
            <a:r>
              <a:rPr sz="1700" spc="-33" dirty="0">
                <a:latin typeface="Arial Black"/>
                <a:cs typeface="Arial Black"/>
              </a:rPr>
              <a:t> </a:t>
            </a:r>
            <a:r>
              <a:rPr sz="1700" dirty="0">
                <a:latin typeface="Arial Black"/>
                <a:cs typeface="Arial Black"/>
              </a:rPr>
              <a:t>to</a:t>
            </a:r>
            <a:r>
              <a:rPr sz="1700" spc="-27" dirty="0">
                <a:latin typeface="Arial Black"/>
                <a:cs typeface="Arial Black"/>
              </a:rPr>
              <a:t> </a:t>
            </a:r>
            <a:r>
              <a:rPr sz="1700" dirty="0">
                <a:latin typeface="Arial Black"/>
                <a:cs typeface="Arial Black"/>
              </a:rPr>
              <a:t>all</a:t>
            </a:r>
            <a:r>
              <a:rPr sz="1700" spc="-27" dirty="0">
                <a:latin typeface="Arial Black"/>
                <a:cs typeface="Arial Black"/>
              </a:rPr>
              <a:t> </a:t>
            </a:r>
            <a:r>
              <a:rPr sz="1700" dirty="0">
                <a:latin typeface="Arial Black"/>
                <a:cs typeface="Arial Black"/>
              </a:rPr>
              <a:t>in</a:t>
            </a:r>
            <a:r>
              <a:rPr sz="1700" spc="-23" dirty="0">
                <a:latin typeface="Arial Black"/>
                <a:cs typeface="Arial Black"/>
              </a:rPr>
              <a:t> </a:t>
            </a:r>
            <a:r>
              <a:rPr sz="1700" dirty="0">
                <a:latin typeface="Arial Black"/>
                <a:cs typeface="Arial Black"/>
              </a:rPr>
              <a:t>the</a:t>
            </a:r>
            <a:r>
              <a:rPr sz="1700" spc="-27" dirty="0">
                <a:latin typeface="Arial Black"/>
                <a:cs typeface="Arial Black"/>
              </a:rPr>
              <a:t> </a:t>
            </a:r>
            <a:r>
              <a:rPr sz="1700" spc="-76" dirty="0">
                <a:latin typeface="Arial Black"/>
                <a:cs typeface="Arial Black"/>
              </a:rPr>
              <a:t>MetroEast</a:t>
            </a:r>
            <a:r>
              <a:rPr sz="1700" spc="-23" dirty="0">
                <a:latin typeface="Arial Black"/>
                <a:cs typeface="Arial Black"/>
              </a:rPr>
              <a:t> </a:t>
            </a:r>
            <a:r>
              <a:rPr sz="1700" spc="-60" dirty="0">
                <a:latin typeface="Arial Black"/>
                <a:cs typeface="Arial Black"/>
              </a:rPr>
              <a:t>IL </a:t>
            </a:r>
            <a:r>
              <a:rPr sz="1700" dirty="0">
                <a:latin typeface="Arial Black"/>
                <a:cs typeface="Arial Black"/>
              </a:rPr>
              <a:t>area</a:t>
            </a:r>
            <a:r>
              <a:rPr sz="1700" spc="260" dirty="0">
                <a:latin typeface="Arial Black"/>
                <a:cs typeface="Arial Black"/>
              </a:rPr>
              <a:t>    </a:t>
            </a:r>
            <a:r>
              <a:rPr sz="1700" dirty="0">
                <a:latin typeface="Arial Black"/>
                <a:cs typeface="Arial Black"/>
              </a:rPr>
              <a:t>and</a:t>
            </a:r>
            <a:r>
              <a:rPr sz="1700" spc="260" dirty="0">
                <a:latin typeface="Arial Black"/>
                <a:cs typeface="Arial Black"/>
              </a:rPr>
              <a:t>    </a:t>
            </a:r>
            <a:r>
              <a:rPr sz="1700" dirty="0">
                <a:latin typeface="Arial Black"/>
                <a:cs typeface="Arial Black"/>
              </a:rPr>
              <a:t>the</a:t>
            </a:r>
            <a:r>
              <a:rPr sz="1700" spc="260" dirty="0">
                <a:latin typeface="Arial Black"/>
                <a:cs typeface="Arial Black"/>
              </a:rPr>
              <a:t>    </a:t>
            </a:r>
            <a:r>
              <a:rPr sz="1700" spc="-50" dirty="0">
                <a:latin typeface="Arial Black"/>
                <a:cs typeface="Arial Black"/>
              </a:rPr>
              <a:t>surrounding </a:t>
            </a:r>
            <a:r>
              <a:rPr sz="1700" spc="-57" dirty="0">
                <a:latin typeface="Arial Black"/>
                <a:cs typeface="Arial Black"/>
              </a:rPr>
              <a:t>metropolitan</a:t>
            </a:r>
            <a:r>
              <a:rPr sz="1700" spc="-110" dirty="0">
                <a:latin typeface="Arial Black"/>
                <a:cs typeface="Arial Black"/>
              </a:rPr>
              <a:t> </a:t>
            </a:r>
            <a:r>
              <a:rPr sz="1700" spc="-140" dirty="0">
                <a:latin typeface="Arial Black"/>
                <a:cs typeface="Arial Black"/>
              </a:rPr>
              <a:t>St.</a:t>
            </a:r>
            <a:r>
              <a:rPr sz="1700" spc="-110" dirty="0">
                <a:latin typeface="Arial Black"/>
                <a:cs typeface="Arial Black"/>
              </a:rPr>
              <a:t> </a:t>
            </a:r>
            <a:r>
              <a:rPr sz="1700" spc="-100" dirty="0">
                <a:latin typeface="Arial Black"/>
                <a:cs typeface="Arial Black"/>
              </a:rPr>
              <a:t>Louis,</a:t>
            </a:r>
            <a:r>
              <a:rPr sz="1700" spc="-107" dirty="0">
                <a:latin typeface="Arial Black"/>
                <a:cs typeface="Arial Black"/>
              </a:rPr>
              <a:t> </a:t>
            </a:r>
            <a:r>
              <a:rPr sz="1700" spc="-30" dirty="0">
                <a:latin typeface="Arial Black"/>
                <a:cs typeface="Arial Black"/>
              </a:rPr>
              <a:t>MO</a:t>
            </a:r>
            <a:r>
              <a:rPr sz="1700" spc="-110" dirty="0">
                <a:latin typeface="Arial Black"/>
                <a:cs typeface="Arial Black"/>
              </a:rPr>
              <a:t> </a:t>
            </a:r>
            <a:r>
              <a:rPr sz="1700" spc="-7" dirty="0">
                <a:latin typeface="Arial Black"/>
                <a:cs typeface="Arial Black"/>
              </a:rPr>
              <a:t>area.</a:t>
            </a:r>
            <a:endParaRPr sz="1700">
              <a:latin typeface="Arial Black"/>
              <a:cs typeface="Arial Black"/>
            </a:endParaRPr>
          </a:p>
        </p:txBody>
      </p:sp>
      <p:sp>
        <p:nvSpPr>
          <p:cNvPr id="20" name="object 20"/>
          <p:cNvSpPr txBox="1"/>
          <p:nvPr/>
        </p:nvSpPr>
        <p:spPr>
          <a:xfrm>
            <a:off x="6586079" y="813905"/>
            <a:ext cx="1753870" cy="1405890"/>
          </a:xfrm>
          <a:prstGeom prst="rect">
            <a:avLst/>
          </a:prstGeom>
        </p:spPr>
        <p:txBody>
          <a:bodyPr vert="horz" wrap="square" lIns="0" tIns="8043" rIns="0" bIns="0" rtlCol="0">
            <a:spAutoFit/>
          </a:bodyPr>
          <a:lstStyle/>
          <a:p>
            <a:pPr marL="8467" marR="3387" algn="ctr">
              <a:lnSpc>
                <a:spcPct val="116700"/>
              </a:lnSpc>
              <a:spcBef>
                <a:spcPts val="63"/>
              </a:spcBef>
            </a:pPr>
            <a:r>
              <a:rPr sz="2000" b="1" spc="43" dirty="0">
                <a:solidFill>
                  <a:srgbClr val="FFFFFF"/>
                </a:solidFill>
                <a:latin typeface="Trebuchet MS"/>
                <a:cs typeface="Trebuchet MS"/>
              </a:rPr>
              <a:t>Marvella</a:t>
            </a:r>
            <a:r>
              <a:rPr sz="2000" b="1" spc="-100" dirty="0">
                <a:solidFill>
                  <a:srgbClr val="FFFFFF"/>
                </a:solidFill>
                <a:latin typeface="Trebuchet MS"/>
                <a:cs typeface="Trebuchet MS"/>
              </a:rPr>
              <a:t> </a:t>
            </a:r>
            <a:r>
              <a:rPr sz="2000" b="1" spc="-13" dirty="0">
                <a:solidFill>
                  <a:srgbClr val="FFFFFF"/>
                </a:solidFill>
                <a:latin typeface="Trebuchet MS"/>
                <a:cs typeface="Trebuchet MS"/>
              </a:rPr>
              <a:t>Ying- </a:t>
            </a:r>
            <a:r>
              <a:rPr sz="2000" b="1" spc="-17" dirty="0">
                <a:solidFill>
                  <a:srgbClr val="FFFFFF"/>
                </a:solidFill>
                <a:latin typeface="Trebuchet MS"/>
                <a:cs typeface="Trebuchet MS"/>
              </a:rPr>
              <a:t>Clayburne,</a:t>
            </a:r>
            <a:r>
              <a:rPr sz="2000" b="1" spc="-110" dirty="0">
                <a:solidFill>
                  <a:srgbClr val="FFFFFF"/>
                </a:solidFill>
                <a:latin typeface="Trebuchet MS"/>
                <a:cs typeface="Trebuchet MS"/>
              </a:rPr>
              <a:t> </a:t>
            </a:r>
            <a:r>
              <a:rPr sz="2000" b="1" spc="-17" dirty="0">
                <a:solidFill>
                  <a:srgbClr val="FFFFFF"/>
                </a:solidFill>
                <a:latin typeface="Trebuchet MS"/>
                <a:cs typeface="Trebuchet MS"/>
              </a:rPr>
              <a:t>BS, </a:t>
            </a:r>
            <a:r>
              <a:rPr sz="2000" b="1" dirty="0">
                <a:solidFill>
                  <a:srgbClr val="FFFFFF"/>
                </a:solidFill>
                <a:latin typeface="Trebuchet MS"/>
                <a:cs typeface="Trebuchet MS"/>
              </a:rPr>
              <a:t>CD,</a:t>
            </a:r>
            <a:r>
              <a:rPr sz="2000" b="1" spc="-117" dirty="0">
                <a:solidFill>
                  <a:srgbClr val="FFFFFF"/>
                </a:solidFill>
                <a:latin typeface="Trebuchet MS"/>
                <a:cs typeface="Trebuchet MS"/>
              </a:rPr>
              <a:t> </a:t>
            </a:r>
            <a:r>
              <a:rPr sz="2000" b="1" spc="-17" dirty="0">
                <a:solidFill>
                  <a:srgbClr val="FFFFFF"/>
                </a:solidFill>
                <a:latin typeface="Trebuchet MS"/>
                <a:cs typeface="Trebuchet MS"/>
              </a:rPr>
              <a:t>CBE</a:t>
            </a:r>
            <a:endParaRPr sz="2000">
              <a:latin typeface="Trebuchet MS"/>
              <a:cs typeface="Trebuchet MS"/>
            </a:endParaRPr>
          </a:p>
          <a:p>
            <a:pPr algn="ctr">
              <a:lnSpc>
                <a:spcPct val="100000"/>
              </a:lnSpc>
              <a:spcBef>
                <a:spcPts val="697"/>
              </a:spcBef>
            </a:pPr>
            <a:r>
              <a:rPr sz="1533" spc="-117" dirty="0">
                <a:solidFill>
                  <a:srgbClr val="FFFFFF"/>
                </a:solidFill>
                <a:latin typeface="Arial Black"/>
                <a:cs typeface="Arial Black"/>
              </a:rPr>
              <a:t>Lead</a:t>
            </a:r>
            <a:r>
              <a:rPr sz="1533" spc="-110" dirty="0">
                <a:solidFill>
                  <a:srgbClr val="FFFFFF"/>
                </a:solidFill>
                <a:latin typeface="Arial Black"/>
                <a:cs typeface="Arial Black"/>
              </a:rPr>
              <a:t> </a:t>
            </a:r>
            <a:r>
              <a:rPr sz="1533" spc="-23" dirty="0">
                <a:solidFill>
                  <a:srgbClr val="FFFFFF"/>
                </a:solidFill>
                <a:latin typeface="Arial Black"/>
                <a:cs typeface="Arial Black"/>
              </a:rPr>
              <a:t>Facilator</a:t>
            </a:r>
            <a:endParaRPr sz="1533">
              <a:latin typeface="Arial Black"/>
              <a:cs typeface="Arial Black"/>
            </a:endParaRPr>
          </a:p>
        </p:txBody>
      </p:sp>
      <p:sp>
        <p:nvSpPr>
          <p:cNvPr id="21" name="object 21"/>
          <p:cNvSpPr txBox="1"/>
          <p:nvPr/>
        </p:nvSpPr>
        <p:spPr>
          <a:xfrm>
            <a:off x="4566158" y="3365496"/>
            <a:ext cx="1781810" cy="1683597"/>
          </a:xfrm>
          <a:prstGeom prst="rect">
            <a:avLst/>
          </a:prstGeom>
        </p:spPr>
        <p:txBody>
          <a:bodyPr vert="horz" wrap="square" lIns="0" tIns="8467" rIns="0" bIns="0" rtlCol="0">
            <a:spAutoFit/>
          </a:bodyPr>
          <a:lstStyle/>
          <a:p>
            <a:pPr marL="8044" marR="3387" indent="-423" algn="ctr">
              <a:lnSpc>
                <a:spcPct val="114999"/>
              </a:lnSpc>
              <a:spcBef>
                <a:spcPts val="67"/>
              </a:spcBef>
            </a:pPr>
            <a:r>
              <a:rPr sz="1667" b="1" dirty="0">
                <a:solidFill>
                  <a:srgbClr val="FFFFFF"/>
                </a:solidFill>
                <a:latin typeface="Trebuchet MS"/>
                <a:cs typeface="Trebuchet MS"/>
              </a:rPr>
              <a:t>Kyra</a:t>
            </a:r>
            <a:r>
              <a:rPr sz="1667" b="1" spc="-110" dirty="0">
                <a:solidFill>
                  <a:srgbClr val="FFFFFF"/>
                </a:solidFill>
                <a:latin typeface="Trebuchet MS"/>
                <a:cs typeface="Trebuchet MS"/>
              </a:rPr>
              <a:t> </a:t>
            </a:r>
            <a:r>
              <a:rPr sz="1667" b="1" spc="-136" dirty="0">
                <a:solidFill>
                  <a:srgbClr val="FFFFFF"/>
                </a:solidFill>
                <a:latin typeface="Trebuchet MS"/>
                <a:cs typeface="Trebuchet MS"/>
              </a:rPr>
              <a:t>L.</a:t>
            </a:r>
            <a:r>
              <a:rPr sz="1667" b="1" spc="-87" dirty="0">
                <a:solidFill>
                  <a:srgbClr val="FFFFFF"/>
                </a:solidFill>
                <a:latin typeface="Trebuchet MS"/>
                <a:cs typeface="Trebuchet MS"/>
              </a:rPr>
              <a:t> </a:t>
            </a:r>
            <a:r>
              <a:rPr sz="1667" b="1" spc="-7" dirty="0">
                <a:solidFill>
                  <a:srgbClr val="FFFFFF"/>
                </a:solidFill>
                <a:latin typeface="Trebuchet MS"/>
                <a:cs typeface="Trebuchet MS"/>
              </a:rPr>
              <a:t>Betts, </a:t>
            </a:r>
            <a:r>
              <a:rPr sz="1667" b="1" dirty="0">
                <a:solidFill>
                  <a:srgbClr val="FFFFFF"/>
                </a:solidFill>
                <a:latin typeface="Trebuchet MS"/>
                <a:cs typeface="Trebuchet MS"/>
              </a:rPr>
              <a:t>CBE,ICS,</a:t>
            </a:r>
            <a:r>
              <a:rPr sz="1667" b="1" spc="-76" dirty="0">
                <a:solidFill>
                  <a:srgbClr val="FFFFFF"/>
                </a:solidFill>
                <a:latin typeface="Trebuchet MS"/>
                <a:cs typeface="Trebuchet MS"/>
              </a:rPr>
              <a:t> </a:t>
            </a:r>
            <a:r>
              <a:rPr sz="1667" b="1" spc="-7" dirty="0">
                <a:solidFill>
                  <a:srgbClr val="FFFFFF"/>
                </a:solidFill>
                <a:latin typeface="Trebuchet MS"/>
                <a:cs typeface="Trebuchet MS"/>
              </a:rPr>
              <a:t>BS(SOC), </a:t>
            </a:r>
            <a:r>
              <a:rPr sz="1667" b="1" spc="117" dirty="0">
                <a:solidFill>
                  <a:srgbClr val="FFFFFF"/>
                </a:solidFill>
                <a:latin typeface="Trebuchet MS"/>
                <a:cs typeface="Trebuchet MS"/>
              </a:rPr>
              <a:t>MHS</a:t>
            </a:r>
            <a:endParaRPr sz="1667">
              <a:latin typeface="Trebuchet MS"/>
              <a:cs typeface="Trebuchet MS"/>
            </a:endParaRPr>
          </a:p>
          <a:p>
            <a:pPr marL="306085" marR="427165" indent="-33868">
              <a:lnSpc>
                <a:spcPct val="115700"/>
              </a:lnSpc>
              <a:spcBef>
                <a:spcPts val="1220"/>
              </a:spcBef>
            </a:pPr>
            <a:r>
              <a:rPr sz="1800" spc="-147" dirty="0">
                <a:solidFill>
                  <a:srgbClr val="FFFFFF"/>
                </a:solidFill>
                <a:latin typeface="Arial Black"/>
                <a:cs typeface="Arial Black"/>
              </a:rPr>
              <a:t>Advocacy </a:t>
            </a:r>
            <a:r>
              <a:rPr sz="1800" spc="-50" dirty="0">
                <a:solidFill>
                  <a:srgbClr val="FFFFFF"/>
                </a:solidFill>
                <a:latin typeface="Arial Black"/>
                <a:cs typeface="Arial Black"/>
              </a:rPr>
              <a:t>Manager</a:t>
            </a:r>
            <a:endParaRPr sz="1800">
              <a:latin typeface="Arial Black"/>
              <a:cs typeface="Arial Black"/>
            </a:endParaRPr>
          </a:p>
        </p:txBody>
      </p:sp>
    </p:spTree>
    <p:extLst>
      <p:ext uri="{BB962C8B-B14F-4D97-AF65-F5344CB8AC3E}">
        <p14:creationId xmlns:p14="http://schemas.microsoft.com/office/powerpoint/2010/main" val="2783132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4" name="object 4"/>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7" name="object 7"/>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8" name="object 8"/>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sp>
        <p:nvSpPr>
          <p:cNvPr id="9" name="object 9"/>
          <p:cNvSpPr/>
          <p:nvPr/>
        </p:nvSpPr>
        <p:spPr>
          <a:xfrm>
            <a:off x="260617" y="6369257"/>
            <a:ext cx="279400" cy="201083"/>
          </a:xfrm>
          <a:custGeom>
            <a:avLst/>
            <a:gdLst/>
            <a:ahLst/>
            <a:cxnLst/>
            <a:rect l="l" t="t" r="r" b="b"/>
            <a:pathLst>
              <a:path w="419100" h="301625">
                <a:moveTo>
                  <a:pt x="378791" y="301525"/>
                </a:moveTo>
                <a:lnTo>
                  <a:pt x="42402" y="301290"/>
                </a:lnTo>
                <a:lnTo>
                  <a:pt x="3295" y="273279"/>
                </a:lnTo>
                <a:lnTo>
                  <a:pt x="0" y="256296"/>
                </a:lnTo>
                <a:lnTo>
                  <a:pt x="116" y="188580"/>
                </a:lnTo>
                <a:lnTo>
                  <a:pt x="236" y="97313"/>
                </a:lnTo>
                <a:lnTo>
                  <a:pt x="0" y="45228"/>
                </a:lnTo>
                <a:lnTo>
                  <a:pt x="27623" y="3549"/>
                </a:lnTo>
                <a:lnTo>
                  <a:pt x="45228" y="0"/>
                </a:lnTo>
                <a:lnTo>
                  <a:pt x="377614" y="1"/>
                </a:lnTo>
                <a:lnTo>
                  <a:pt x="393485" y="2855"/>
                </a:lnTo>
                <a:lnTo>
                  <a:pt x="406884" y="10733"/>
                </a:lnTo>
                <a:lnTo>
                  <a:pt x="416778" y="22608"/>
                </a:lnTo>
                <a:lnTo>
                  <a:pt x="417205" y="23791"/>
                </a:lnTo>
                <a:lnTo>
                  <a:pt x="44520" y="23791"/>
                </a:lnTo>
                <a:lnTo>
                  <a:pt x="57023" y="36276"/>
                </a:lnTo>
                <a:lnTo>
                  <a:pt x="25209" y="36276"/>
                </a:lnTo>
                <a:lnTo>
                  <a:pt x="25297" y="263397"/>
                </a:lnTo>
                <a:lnTo>
                  <a:pt x="25417" y="268486"/>
                </a:lnTo>
                <a:lnTo>
                  <a:pt x="28162" y="274835"/>
                </a:lnTo>
                <a:lnTo>
                  <a:pt x="36049" y="277496"/>
                </a:lnTo>
                <a:lnTo>
                  <a:pt x="67852" y="277496"/>
                </a:lnTo>
                <a:lnTo>
                  <a:pt x="66439" y="278910"/>
                </a:lnTo>
                <a:lnTo>
                  <a:pt x="415235" y="278910"/>
                </a:lnTo>
                <a:lnTo>
                  <a:pt x="409507" y="287691"/>
                </a:lnTo>
                <a:lnTo>
                  <a:pt x="395738" y="297477"/>
                </a:lnTo>
                <a:lnTo>
                  <a:pt x="378791" y="301525"/>
                </a:lnTo>
                <a:close/>
              </a:path>
              <a:path w="419100" h="301625">
                <a:moveTo>
                  <a:pt x="246276" y="188580"/>
                </a:moveTo>
                <a:lnTo>
                  <a:pt x="214237" y="188580"/>
                </a:lnTo>
                <a:lnTo>
                  <a:pt x="379027" y="23791"/>
                </a:lnTo>
                <a:lnTo>
                  <a:pt x="44520" y="23791"/>
                </a:lnTo>
                <a:lnTo>
                  <a:pt x="417205" y="23791"/>
                </a:lnTo>
                <a:lnTo>
                  <a:pt x="418906" y="28506"/>
                </a:lnTo>
                <a:lnTo>
                  <a:pt x="418906" y="35333"/>
                </a:lnTo>
                <a:lnTo>
                  <a:pt x="399523" y="35333"/>
                </a:lnTo>
                <a:lnTo>
                  <a:pt x="271375" y="163486"/>
                </a:lnTo>
                <a:lnTo>
                  <a:pt x="287353" y="179497"/>
                </a:lnTo>
                <a:lnTo>
                  <a:pt x="255360" y="179497"/>
                </a:lnTo>
                <a:lnTo>
                  <a:pt x="246276" y="188580"/>
                </a:lnTo>
                <a:close/>
              </a:path>
              <a:path w="419100" h="301625">
                <a:moveTo>
                  <a:pt x="416002" y="277734"/>
                </a:moveTo>
                <a:lnTo>
                  <a:pt x="385389" y="277734"/>
                </a:lnTo>
                <a:lnTo>
                  <a:pt x="391589" y="274835"/>
                </a:lnTo>
                <a:lnTo>
                  <a:pt x="395991" y="270102"/>
                </a:lnTo>
                <a:lnTo>
                  <a:pt x="398640" y="263397"/>
                </a:lnTo>
                <a:lnTo>
                  <a:pt x="399523" y="254648"/>
                </a:lnTo>
                <a:lnTo>
                  <a:pt x="399523" y="35333"/>
                </a:lnTo>
                <a:lnTo>
                  <a:pt x="418906" y="35333"/>
                </a:lnTo>
                <a:lnTo>
                  <a:pt x="418801" y="273279"/>
                </a:lnTo>
                <a:lnTo>
                  <a:pt x="418754" y="273515"/>
                </a:lnTo>
                <a:lnTo>
                  <a:pt x="416002" y="277734"/>
                </a:lnTo>
                <a:close/>
              </a:path>
              <a:path w="419100" h="301625">
                <a:moveTo>
                  <a:pt x="67852" y="277496"/>
                </a:moveTo>
                <a:lnTo>
                  <a:pt x="36049" y="277496"/>
                </a:lnTo>
                <a:lnTo>
                  <a:pt x="151239" y="162306"/>
                </a:lnTo>
                <a:lnTo>
                  <a:pt x="25209" y="36276"/>
                </a:lnTo>
                <a:lnTo>
                  <a:pt x="57023" y="36276"/>
                </a:lnTo>
                <a:lnTo>
                  <a:pt x="199031" y="178083"/>
                </a:lnTo>
                <a:lnTo>
                  <a:pt x="167258" y="178083"/>
                </a:lnTo>
                <a:lnTo>
                  <a:pt x="67852" y="277496"/>
                </a:lnTo>
                <a:close/>
              </a:path>
              <a:path w="419100" h="301625">
                <a:moveTo>
                  <a:pt x="214245" y="220612"/>
                </a:moveTo>
                <a:lnTo>
                  <a:pt x="209551" y="220612"/>
                </a:lnTo>
                <a:lnTo>
                  <a:pt x="167258" y="178083"/>
                </a:lnTo>
                <a:lnTo>
                  <a:pt x="199031" y="178083"/>
                </a:lnTo>
                <a:lnTo>
                  <a:pt x="209543" y="188580"/>
                </a:lnTo>
                <a:lnTo>
                  <a:pt x="246276" y="188580"/>
                </a:lnTo>
                <a:lnTo>
                  <a:pt x="214245" y="220612"/>
                </a:lnTo>
                <a:close/>
              </a:path>
              <a:path w="419100" h="301625">
                <a:moveTo>
                  <a:pt x="415235" y="278910"/>
                </a:moveTo>
                <a:lnTo>
                  <a:pt x="354773" y="278910"/>
                </a:lnTo>
                <a:lnTo>
                  <a:pt x="255360" y="179497"/>
                </a:lnTo>
                <a:lnTo>
                  <a:pt x="287353" y="179497"/>
                </a:lnTo>
                <a:lnTo>
                  <a:pt x="385389" y="277734"/>
                </a:lnTo>
                <a:lnTo>
                  <a:pt x="416002" y="277734"/>
                </a:lnTo>
                <a:lnTo>
                  <a:pt x="415235" y="278910"/>
                </a:lnTo>
                <a:close/>
              </a:path>
            </a:pathLst>
          </a:custGeom>
          <a:solidFill>
            <a:srgbClr val="2ABEC1"/>
          </a:solidFill>
        </p:spPr>
        <p:txBody>
          <a:bodyPr wrap="square" lIns="0" tIns="0" rIns="0" bIns="0" rtlCol="0"/>
          <a:lstStyle/>
          <a:p>
            <a:endParaRPr/>
          </a:p>
        </p:txBody>
      </p:sp>
      <p:grpSp>
        <p:nvGrpSpPr>
          <p:cNvPr id="10" name="object 10"/>
          <p:cNvGrpSpPr/>
          <p:nvPr/>
        </p:nvGrpSpPr>
        <p:grpSpPr>
          <a:xfrm>
            <a:off x="245875" y="5976660"/>
            <a:ext cx="283633" cy="283633"/>
            <a:chOff x="368812" y="8964990"/>
            <a:chExt cx="425450" cy="425450"/>
          </a:xfrm>
        </p:grpSpPr>
        <p:sp>
          <p:nvSpPr>
            <p:cNvPr id="11" name="object 11"/>
            <p:cNvSpPr/>
            <p:nvPr/>
          </p:nvSpPr>
          <p:spPr>
            <a:xfrm>
              <a:off x="472570" y="9059283"/>
              <a:ext cx="177800" cy="262255"/>
            </a:xfrm>
            <a:custGeom>
              <a:avLst/>
              <a:gdLst/>
              <a:ahLst/>
              <a:cxnLst/>
              <a:rect l="l" t="t" r="r" b="b"/>
              <a:pathLst>
                <a:path w="177800" h="262254">
                  <a:moveTo>
                    <a:pt x="150830" y="262161"/>
                  </a:moveTo>
                  <a:lnTo>
                    <a:pt x="86617" y="227480"/>
                  </a:lnTo>
                  <a:lnTo>
                    <a:pt x="53129" y="185829"/>
                  </a:lnTo>
                  <a:lnTo>
                    <a:pt x="25201" y="137194"/>
                  </a:lnTo>
                  <a:lnTo>
                    <a:pt x="6326" y="87535"/>
                  </a:lnTo>
                  <a:lnTo>
                    <a:pt x="0" y="42813"/>
                  </a:lnTo>
                  <a:lnTo>
                    <a:pt x="2797" y="27748"/>
                  </a:lnTo>
                  <a:lnTo>
                    <a:pt x="9673" y="16554"/>
                  </a:lnTo>
                  <a:lnTo>
                    <a:pt x="19797" y="7787"/>
                  </a:lnTo>
                  <a:lnTo>
                    <a:pt x="32338" y="0"/>
                  </a:lnTo>
                  <a:lnTo>
                    <a:pt x="72640" y="69807"/>
                  </a:lnTo>
                  <a:lnTo>
                    <a:pt x="59824" y="100428"/>
                  </a:lnTo>
                  <a:lnTo>
                    <a:pt x="73620" y="143551"/>
                  </a:lnTo>
                  <a:lnTo>
                    <a:pt x="103014" y="177668"/>
                  </a:lnTo>
                  <a:lnTo>
                    <a:pt x="136994" y="181272"/>
                  </a:lnTo>
                  <a:lnTo>
                    <a:pt x="177297" y="251078"/>
                  </a:lnTo>
                  <a:lnTo>
                    <a:pt x="163936" y="258053"/>
                  </a:lnTo>
                  <a:lnTo>
                    <a:pt x="150830" y="262161"/>
                  </a:lnTo>
                  <a:close/>
                </a:path>
              </a:pathLst>
            </a:custGeom>
            <a:solidFill>
              <a:srgbClr val="2ABEC1"/>
            </a:solidFill>
          </p:spPr>
          <p:txBody>
            <a:bodyPr wrap="square" lIns="0" tIns="0" rIns="0" bIns="0" rtlCol="0"/>
            <a:lstStyle/>
            <a:p>
              <a:endParaRPr/>
            </a:p>
          </p:txBody>
        </p:sp>
        <p:pic>
          <p:nvPicPr>
            <p:cNvPr id="12" name="object 12"/>
            <p:cNvPicPr/>
            <p:nvPr/>
          </p:nvPicPr>
          <p:blipFill>
            <a:blip r:embed="rId5" cstate="email">
              <a:extLst>
                <a:ext uri="{28A0092B-C50C-407E-A947-70E740481C1C}">
                  <a14:useLocalDpi xmlns:a14="http://schemas.microsoft.com/office/drawing/2010/main"/>
                </a:ext>
              </a:extLst>
            </a:blip>
            <a:stretch>
              <a:fillRect/>
            </a:stretch>
          </p:blipFill>
          <p:spPr>
            <a:xfrm>
              <a:off x="509104" y="9031789"/>
              <a:ext cx="78508" cy="97882"/>
            </a:xfrm>
            <a:prstGeom prst="rect">
              <a:avLst/>
            </a:prstGeom>
          </p:spPr>
        </p:pic>
        <p:pic>
          <p:nvPicPr>
            <p:cNvPr id="13" name="object 13"/>
            <p:cNvPicPr/>
            <p:nvPr/>
          </p:nvPicPr>
          <p:blipFill>
            <a:blip r:embed="rId5" cstate="email">
              <a:extLst>
                <a:ext uri="{28A0092B-C50C-407E-A947-70E740481C1C}">
                  <a14:useLocalDpi xmlns:a14="http://schemas.microsoft.com/office/drawing/2010/main"/>
                </a:ext>
              </a:extLst>
            </a:blip>
            <a:stretch>
              <a:fillRect/>
            </a:stretch>
          </p:blipFill>
          <p:spPr>
            <a:xfrm>
              <a:off x="612903" y="9211574"/>
              <a:ext cx="78508" cy="97882"/>
            </a:xfrm>
            <a:prstGeom prst="rect">
              <a:avLst/>
            </a:prstGeom>
          </p:spPr>
        </p:pic>
        <p:sp>
          <p:nvSpPr>
            <p:cNvPr id="14" name="object 14"/>
            <p:cNvSpPr/>
            <p:nvPr/>
          </p:nvSpPr>
          <p:spPr>
            <a:xfrm>
              <a:off x="368812" y="8964990"/>
              <a:ext cx="425450" cy="425450"/>
            </a:xfrm>
            <a:custGeom>
              <a:avLst/>
              <a:gdLst/>
              <a:ahLst/>
              <a:cxnLst/>
              <a:rect l="l" t="t" r="r" b="b"/>
              <a:pathLst>
                <a:path w="425450" h="425450">
                  <a:moveTo>
                    <a:pt x="212540" y="0"/>
                  </a:moveTo>
                  <a:close/>
                </a:path>
                <a:path w="425450" h="425450">
                  <a:moveTo>
                    <a:pt x="212538" y="425069"/>
                  </a:moveTo>
                  <a:lnTo>
                    <a:pt x="169682" y="420703"/>
                  </a:lnTo>
                  <a:lnTo>
                    <a:pt x="129785" y="408326"/>
                  </a:lnTo>
                  <a:lnTo>
                    <a:pt x="93692" y="388744"/>
                  </a:lnTo>
                  <a:lnTo>
                    <a:pt x="62256" y="362810"/>
                  </a:lnTo>
                  <a:lnTo>
                    <a:pt x="36324" y="331373"/>
                  </a:lnTo>
                  <a:lnTo>
                    <a:pt x="16742" y="295279"/>
                  </a:lnTo>
                  <a:lnTo>
                    <a:pt x="4365" y="255382"/>
                  </a:lnTo>
                  <a:lnTo>
                    <a:pt x="49" y="212538"/>
                  </a:lnTo>
                  <a:lnTo>
                    <a:pt x="4365" y="169683"/>
                  </a:lnTo>
                  <a:lnTo>
                    <a:pt x="16742" y="129786"/>
                  </a:lnTo>
                  <a:lnTo>
                    <a:pt x="36324" y="93692"/>
                  </a:lnTo>
                  <a:lnTo>
                    <a:pt x="62258" y="62256"/>
                  </a:lnTo>
                  <a:lnTo>
                    <a:pt x="93696" y="36324"/>
                  </a:lnTo>
                  <a:lnTo>
                    <a:pt x="129792" y="16742"/>
                  </a:lnTo>
                  <a:lnTo>
                    <a:pt x="169691" y="4365"/>
                  </a:lnTo>
                  <a:lnTo>
                    <a:pt x="212530" y="49"/>
                  </a:lnTo>
                  <a:lnTo>
                    <a:pt x="255387" y="4365"/>
                  </a:lnTo>
                  <a:lnTo>
                    <a:pt x="295284" y="16742"/>
                  </a:lnTo>
                  <a:lnTo>
                    <a:pt x="311148" y="25350"/>
                  </a:lnTo>
                  <a:lnTo>
                    <a:pt x="212530" y="25350"/>
                  </a:lnTo>
                  <a:lnTo>
                    <a:pt x="174841" y="29157"/>
                  </a:lnTo>
                  <a:lnTo>
                    <a:pt x="107930" y="57346"/>
                  </a:lnTo>
                  <a:lnTo>
                    <a:pt x="57351" y="107928"/>
                  </a:lnTo>
                  <a:lnTo>
                    <a:pt x="29162" y="174841"/>
                  </a:lnTo>
                  <a:lnTo>
                    <a:pt x="25355" y="212525"/>
                  </a:lnTo>
                  <a:lnTo>
                    <a:pt x="40077" y="285347"/>
                  </a:lnTo>
                  <a:lnTo>
                    <a:pt x="80222" y="344851"/>
                  </a:lnTo>
                  <a:lnTo>
                    <a:pt x="139731" y="384993"/>
                  </a:lnTo>
                  <a:lnTo>
                    <a:pt x="212535" y="399716"/>
                  </a:lnTo>
                  <a:lnTo>
                    <a:pt x="311149" y="399716"/>
                  </a:lnTo>
                  <a:lnTo>
                    <a:pt x="295276" y="408327"/>
                  </a:lnTo>
                  <a:lnTo>
                    <a:pt x="255377" y="420704"/>
                  </a:lnTo>
                  <a:lnTo>
                    <a:pt x="212538" y="425019"/>
                  </a:lnTo>
                  <a:close/>
                </a:path>
                <a:path w="425450" h="425450">
                  <a:moveTo>
                    <a:pt x="212540" y="25399"/>
                  </a:moveTo>
                  <a:close/>
                </a:path>
                <a:path w="425450" h="425450">
                  <a:moveTo>
                    <a:pt x="311149" y="399716"/>
                  </a:moveTo>
                  <a:lnTo>
                    <a:pt x="212545" y="399716"/>
                  </a:lnTo>
                  <a:lnTo>
                    <a:pt x="250235" y="395909"/>
                  </a:lnTo>
                  <a:lnTo>
                    <a:pt x="285354" y="384992"/>
                  </a:lnTo>
                  <a:lnTo>
                    <a:pt x="344856" y="344849"/>
                  </a:lnTo>
                  <a:lnTo>
                    <a:pt x="384997" y="285344"/>
                  </a:lnTo>
                  <a:lnTo>
                    <a:pt x="399721" y="212535"/>
                  </a:lnTo>
                  <a:lnTo>
                    <a:pt x="384998" y="139719"/>
                  </a:lnTo>
                  <a:lnTo>
                    <a:pt x="344853" y="80215"/>
                  </a:lnTo>
                  <a:lnTo>
                    <a:pt x="285344" y="40072"/>
                  </a:lnTo>
                  <a:lnTo>
                    <a:pt x="212540" y="25350"/>
                  </a:lnTo>
                  <a:lnTo>
                    <a:pt x="311148" y="25350"/>
                  </a:lnTo>
                  <a:lnTo>
                    <a:pt x="362812" y="62258"/>
                  </a:lnTo>
                  <a:lnTo>
                    <a:pt x="388744" y="93696"/>
                  </a:lnTo>
                  <a:lnTo>
                    <a:pt x="408326" y="129790"/>
                  </a:lnTo>
                  <a:lnTo>
                    <a:pt x="420703" y="169686"/>
                  </a:lnTo>
                  <a:lnTo>
                    <a:pt x="425019" y="212525"/>
                  </a:lnTo>
                  <a:lnTo>
                    <a:pt x="420704" y="255385"/>
                  </a:lnTo>
                  <a:lnTo>
                    <a:pt x="408327" y="295282"/>
                  </a:lnTo>
                  <a:lnTo>
                    <a:pt x="388744" y="331377"/>
                  </a:lnTo>
                  <a:lnTo>
                    <a:pt x="362810" y="362812"/>
                  </a:lnTo>
                  <a:lnTo>
                    <a:pt x="331372" y="388744"/>
                  </a:lnTo>
                  <a:lnTo>
                    <a:pt x="311149" y="399716"/>
                  </a:lnTo>
                  <a:close/>
                </a:path>
                <a:path w="425450" h="425450">
                  <a:moveTo>
                    <a:pt x="212545" y="399716"/>
                  </a:moveTo>
                  <a:close/>
                </a:path>
              </a:pathLst>
            </a:custGeom>
            <a:solidFill>
              <a:srgbClr val="2ABEC1"/>
            </a:solidFill>
          </p:spPr>
          <p:txBody>
            <a:bodyPr wrap="square" lIns="0" tIns="0" rIns="0" bIns="0" rtlCol="0"/>
            <a:lstStyle/>
            <a:p>
              <a:endParaRPr/>
            </a:p>
          </p:txBody>
        </p:sp>
      </p:grpSp>
      <p:sp>
        <p:nvSpPr>
          <p:cNvPr id="15" name="object 15"/>
          <p:cNvSpPr txBox="1"/>
          <p:nvPr/>
        </p:nvSpPr>
        <p:spPr>
          <a:xfrm>
            <a:off x="1160028" y="236267"/>
            <a:ext cx="1232323" cy="220133"/>
          </a:xfrm>
          <a:prstGeom prst="rect">
            <a:avLst/>
          </a:prstGeom>
        </p:spPr>
        <p:txBody>
          <a:bodyPr vert="horz" wrap="square" lIns="0" tIns="8467" rIns="0" bIns="0" rtlCol="0">
            <a:spAutoFit/>
          </a:bodyPr>
          <a:lstStyle/>
          <a:p>
            <a:pPr marL="8467">
              <a:lnSpc>
                <a:spcPct val="100000"/>
              </a:lnSpc>
              <a:spcBef>
                <a:spcPts val="67"/>
              </a:spcBef>
            </a:pPr>
            <a:r>
              <a:rPr sz="1333" b="1" spc="-73" dirty="0">
                <a:solidFill>
                  <a:srgbClr val="FF8F45"/>
                </a:solidFill>
                <a:latin typeface="Trebuchet MS"/>
                <a:cs typeface="Trebuchet MS"/>
              </a:rPr>
              <a:t>THE</a:t>
            </a:r>
            <a:r>
              <a:rPr sz="1333" b="1" spc="-63" dirty="0">
                <a:solidFill>
                  <a:srgbClr val="FF8F45"/>
                </a:solidFill>
                <a:latin typeface="Trebuchet MS"/>
                <a:cs typeface="Trebuchet MS"/>
              </a:rPr>
              <a:t> </a:t>
            </a:r>
            <a:r>
              <a:rPr sz="1333" b="1" dirty="0">
                <a:solidFill>
                  <a:srgbClr val="FF8F45"/>
                </a:solidFill>
                <a:latin typeface="Trebuchet MS"/>
                <a:cs typeface="Trebuchet MS"/>
              </a:rPr>
              <a:t>DOULA</a:t>
            </a:r>
            <a:r>
              <a:rPr sz="1333" b="1" spc="-60" dirty="0">
                <a:solidFill>
                  <a:srgbClr val="FF8F45"/>
                </a:solidFill>
                <a:latin typeface="Trebuchet MS"/>
                <a:cs typeface="Trebuchet MS"/>
              </a:rPr>
              <a:t> </a:t>
            </a:r>
            <a:r>
              <a:rPr sz="1333" b="1" spc="-17" dirty="0">
                <a:solidFill>
                  <a:srgbClr val="FF8F45"/>
                </a:solidFill>
                <a:latin typeface="Trebuchet MS"/>
                <a:cs typeface="Trebuchet MS"/>
              </a:rPr>
              <a:t>LAB</a:t>
            </a:r>
            <a:endParaRPr sz="1333">
              <a:latin typeface="Trebuchet MS"/>
              <a:cs typeface="Trebuchet MS"/>
            </a:endParaRPr>
          </a:p>
        </p:txBody>
      </p:sp>
      <p:sp>
        <p:nvSpPr>
          <p:cNvPr id="16" name="object 16"/>
          <p:cNvSpPr txBox="1">
            <a:spLocks noGrp="1"/>
          </p:cNvSpPr>
          <p:nvPr>
            <p:ph type="title"/>
          </p:nvPr>
        </p:nvSpPr>
        <p:spPr>
          <a:xfrm>
            <a:off x="0" y="685799"/>
            <a:ext cx="6172200" cy="1711580"/>
          </a:xfrm>
          <a:prstGeom prst="rect">
            <a:avLst/>
          </a:prstGeom>
          <a:solidFill>
            <a:srgbClr val="FF8F45"/>
          </a:solidFill>
        </p:spPr>
        <p:txBody>
          <a:bodyPr vert="horz" wrap="square" lIns="0" tIns="272627" rIns="0" bIns="0" rtlCol="0">
            <a:spAutoFit/>
          </a:bodyPr>
          <a:lstStyle/>
          <a:p>
            <a:pPr marL="245546" marR="2319135">
              <a:lnSpc>
                <a:spcPts val="5554"/>
              </a:lnSpc>
              <a:spcBef>
                <a:spcPts val="2147"/>
              </a:spcBef>
            </a:pPr>
            <a:r>
              <a:rPr spc="-23" dirty="0">
                <a:solidFill>
                  <a:srgbClr val="FFFFFF"/>
                </a:solidFill>
              </a:rPr>
              <a:t>Help</a:t>
            </a:r>
            <a:r>
              <a:rPr spc="-283" dirty="0">
                <a:solidFill>
                  <a:srgbClr val="FFFFFF"/>
                </a:solidFill>
              </a:rPr>
              <a:t> </a:t>
            </a:r>
            <a:r>
              <a:rPr spc="103" dirty="0">
                <a:solidFill>
                  <a:srgbClr val="FFFFFF"/>
                </a:solidFill>
              </a:rPr>
              <a:t>Us</a:t>
            </a:r>
            <a:r>
              <a:rPr spc="-280" dirty="0">
                <a:solidFill>
                  <a:srgbClr val="FFFFFF"/>
                </a:solidFill>
              </a:rPr>
              <a:t> </a:t>
            </a:r>
            <a:r>
              <a:rPr spc="163" dirty="0">
                <a:solidFill>
                  <a:srgbClr val="FFFFFF"/>
                </a:solidFill>
              </a:rPr>
              <a:t>Save </a:t>
            </a:r>
            <a:r>
              <a:rPr spc="-7" dirty="0">
                <a:solidFill>
                  <a:srgbClr val="FFFFFF"/>
                </a:solidFill>
              </a:rPr>
              <a:t>Lives</a:t>
            </a:r>
          </a:p>
        </p:txBody>
      </p:sp>
      <p:sp>
        <p:nvSpPr>
          <p:cNvPr id="17" name="object 17"/>
          <p:cNvSpPr txBox="1"/>
          <p:nvPr/>
        </p:nvSpPr>
        <p:spPr>
          <a:xfrm>
            <a:off x="237409" y="2753804"/>
            <a:ext cx="5633720" cy="3818890"/>
          </a:xfrm>
          <a:prstGeom prst="rect">
            <a:avLst/>
          </a:prstGeom>
        </p:spPr>
        <p:txBody>
          <a:bodyPr vert="horz" wrap="square" lIns="0" tIns="8467" rIns="0" bIns="0" rtlCol="0">
            <a:spAutoFit/>
          </a:bodyPr>
          <a:lstStyle/>
          <a:p>
            <a:pPr marL="8467" algn="just">
              <a:lnSpc>
                <a:spcPct val="100000"/>
              </a:lnSpc>
              <a:spcBef>
                <a:spcPts val="67"/>
              </a:spcBef>
            </a:pPr>
            <a:r>
              <a:rPr sz="1667" b="1" spc="-47" dirty="0">
                <a:solidFill>
                  <a:srgbClr val="2ABEC1"/>
                </a:solidFill>
                <a:latin typeface="Trebuchet MS"/>
                <a:cs typeface="Trebuchet MS"/>
              </a:rPr>
              <a:t>Let's</a:t>
            </a:r>
            <a:r>
              <a:rPr sz="1667" b="1" spc="-13" dirty="0">
                <a:solidFill>
                  <a:srgbClr val="2ABEC1"/>
                </a:solidFill>
                <a:latin typeface="Trebuchet MS"/>
                <a:cs typeface="Trebuchet MS"/>
              </a:rPr>
              <a:t> </a:t>
            </a:r>
            <a:r>
              <a:rPr sz="1667" b="1" dirty="0">
                <a:solidFill>
                  <a:srgbClr val="2ABEC1"/>
                </a:solidFill>
                <a:latin typeface="Trebuchet MS"/>
                <a:cs typeface="Trebuchet MS"/>
              </a:rPr>
              <a:t>start</a:t>
            </a:r>
            <a:r>
              <a:rPr sz="1667" b="1" spc="-10" dirty="0">
                <a:solidFill>
                  <a:srgbClr val="2ABEC1"/>
                </a:solidFill>
                <a:latin typeface="Trebuchet MS"/>
                <a:cs typeface="Trebuchet MS"/>
              </a:rPr>
              <a:t> </a:t>
            </a:r>
            <a:r>
              <a:rPr sz="1667" b="1" dirty="0">
                <a:solidFill>
                  <a:srgbClr val="2ABEC1"/>
                </a:solidFill>
                <a:latin typeface="Trebuchet MS"/>
                <a:cs typeface="Trebuchet MS"/>
              </a:rPr>
              <a:t>sharing</a:t>
            </a:r>
            <a:r>
              <a:rPr sz="1667" b="1" spc="-10" dirty="0">
                <a:solidFill>
                  <a:srgbClr val="2ABEC1"/>
                </a:solidFill>
                <a:latin typeface="Trebuchet MS"/>
                <a:cs typeface="Trebuchet MS"/>
              </a:rPr>
              <a:t> </a:t>
            </a:r>
            <a:r>
              <a:rPr sz="1667" b="1" dirty="0">
                <a:solidFill>
                  <a:srgbClr val="2ABEC1"/>
                </a:solidFill>
                <a:latin typeface="Trebuchet MS"/>
                <a:cs typeface="Trebuchet MS"/>
              </a:rPr>
              <a:t>happiness</a:t>
            </a:r>
            <a:r>
              <a:rPr sz="1667" b="1" spc="-10" dirty="0">
                <a:solidFill>
                  <a:srgbClr val="2ABEC1"/>
                </a:solidFill>
                <a:latin typeface="Trebuchet MS"/>
                <a:cs typeface="Trebuchet MS"/>
              </a:rPr>
              <a:t> </a:t>
            </a:r>
            <a:r>
              <a:rPr sz="1667" b="1" spc="37" dirty="0">
                <a:solidFill>
                  <a:srgbClr val="2ABEC1"/>
                </a:solidFill>
                <a:latin typeface="Trebuchet MS"/>
                <a:cs typeface="Trebuchet MS"/>
              </a:rPr>
              <a:t>and</a:t>
            </a:r>
            <a:r>
              <a:rPr sz="1667" b="1" spc="-10" dirty="0">
                <a:solidFill>
                  <a:srgbClr val="2ABEC1"/>
                </a:solidFill>
                <a:latin typeface="Trebuchet MS"/>
                <a:cs typeface="Trebuchet MS"/>
              </a:rPr>
              <a:t> </a:t>
            </a:r>
            <a:r>
              <a:rPr sz="1667" b="1" spc="-7" dirty="0">
                <a:solidFill>
                  <a:srgbClr val="2ABEC1"/>
                </a:solidFill>
                <a:latin typeface="Trebuchet MS"/>
                <a:cs typeface="Trebuchet MS"/>
              </a:rPr>
              <a:t>inspire</a:t>
            </a:r>
            <a:r>
              <a:rPr sz="1667" b="1" spc="-10" dirty="0">
                <a:solidFill>
                  <a:srgbClr val="2ABEC1"/>
                </a:solidFill>
                <a:latin typeface="Trebuchet MS"/>
                <a:cs typeface="Trebuchet MS"/>
              </a:rPr>
              <a:t> </a:t>
            </a:r>
            <a:r>
              <a:rPr sz="1667" b="1" spc="-7" dirty="0">
                <a:solidFill>
                  <a:srgbClr val="2ABEC1"/>
                </a:solidFill>
                <a:latin typeface="Trebuchet MS"/>
                <a:cs typeface="Trebuchet MS"/>
              </a:rPr>
              <a:t>people.</a:t>
            </a:r>
            <a:endParaRPr sz="1667">
              <a:latin typeface="Trebuchet MS"/>
              <a:cs typeface="Trebuchet MS"/>
            </a:endParaRPr>
          </a:p>
          <a:p>
            <a:pPr marL="8467" marR="3387" algn="just">
              <a:lnSpc>
                <a:spcPct val="115599"/>
              </a:lnSpc>
              <a:spcBef>
                <a:spcPts val="1760"/>
              </a:spcBef>
            </a:pPr>
            <a:r>
              <a:rPr sz="1333" dirty="0">
                <a:latin typeface="Arial Black"/>
                <a:cs typeface="Arial Black"/>
              </a:rPr>
              <a:t>By</a:t>
            </a:r>
            <a:r>
              <a:rPr sz="1333" spc="227" dirty="0">
                <a:latin typeface="Arial Black"/>
                <a:cs typeface="Arial Black"/>
              </a:rPr>
              <a:t> </a:t>
            </a:r>
            <a:r>
              <a:rPr sz="1333" spc="-23" dirty="0">
                <a:latin typeface="Arial Black"/>
                <a:cs typeface="Arial Black"/>
              </a:rPr>
              <a:t>collaborating</a:t>
            </a:r>
            <a:r>
              <a:rPr sz="1333" spc="230" dirty="0">
                <a:latin typeface="Arial Black"/>
                <a:cs typeface="Arial Black"/>
              </a:rPr>
              <a:t> </a:t>
            </a:r>
            <a:r>
              <a:rPr sz="1333" dirty="0">
                <a:latin typeface="Arial Black"/>
                <a:cs typeface="Arial Black"/>
              </a:rPr>
              <a:t>with</a:t>
            </a:r>
            <a:r>
              <a:rPr sz="1333" spc="227" dirty="0">
                <a:latin typeface="Arial Black"/>
                <a:cs typeface="Arial Black"/>
              </a:rPr>
              <a:t> </a:t>
            </a:r>
            <a:r>
              <a:rPr sz="1333" dirty="0">
                <a:latin typeface="Arial Black"/>
                <a:cs typeface="Arial Black"/>
              </a:rPr>
              <a:t>The</a:t>
            </a:r>
            <a:r>
              <a:rPr sz="1333" spc="230" dirty="0">
                <a:latin typeface="Arial Black"/>
                <a:cs typeface="Arial Black"/>
              </a:rPr>
              <a:t> </a:t>
            </a:r>
            <a:r>
              <a:rPr sz="1333" dirty="0">
                <a:latin typeface="Arial Black"/>
                <a:cs typeface="Arial Black"/>
              </a:rPr>
              <a:t>Doula</a:t>
            </a:r>
            <a:r>
              <a:rPr sz="1333" spc="230" dirty="0">
                <a:latin typeface="Arial Black"/>
                <a:cs typeface="Arial Black"/>
              </a:rPr>
              <a:t> </a:t>
            </a:r>
            <a:r>
              <a:rPr sz="1333" dirty="0">
                <a:latin typeface="Arial Black"/>
                <a:cs typeface="Arial Black"/>
              </a:rPr>
              <a:t>Lab,</a:t>
            </a:r>
            <a:r>
              <a:rPr sz="1333" spc="227" dirty="0">
                <a:latin typeface="Arial Black"/>
                <a:cs typeface="Arial Black"/>
              </a:rPr>
              <a:t> </a:t>
            </a:r>
            <a:r>
              <a:rPr sz="1333" dirty="0">
                <a:latin typeface="Arial Black"/>
                <a:cs typeface="Arial Black"/>
              </a:rPr>
              <a:t>we</a:t>
            </a:r>
            <a:r>
              <a:rPr sz="1333" spc="230" dirty="0">
                <a:latin typeface="Arial Black"/>
                <a:cs typeface="Arial Black"/>
              </a:rPr>
              <a:t> </a:t>
            </a:r>
            <a:r>
              <a:rPr sz="1333" dirty="0">
                <a:latin typeface="Arial Black"/>
                <a:cs typeface="Arial Black"/>
              </a:rPr>
              <a:t>hope</a:t>
            </a:r>
            <a:r>
              <a:rPr sz="1333" spc="230" dirty="0">
                <a:latin typeface="Arial Black"/>
                <a:cs typeface="Arial Black"/>
              </a:rPr>
              <a:t> </a:t>
            </a:r>
            <a:r>
              <a:rPr sz="1333" dirty="0">
                <a:latin typeface="Arial Black"/>
                <a:cs typeface="Arial Black"/>
              </a:rPr>
              <a:t>to</a:t>
            </a:r>
            <a:r>
              <a:rPr sz="1333" spc="227" dirty="0">
                <a:latin typeface="Arial Black"/>
                <a:cs typeface="Arial Black"/>
              </a:rPr>
              <a:t> </a:t>
            </a:r>
            <a:r>
              <a:rPr sz="1333" dirty="0">
                <a:latin typeface="Arial Black"/>
                <a:cs typeface="Arial Black"/>
              </a:rPr>
              <a:t>create</a:t>
            </a:r>
            <a:r>
              <a:rPr sz="1333" spc="230" dirty="0">
                <a:latin typeface="Arial Black"/>
                <a:cs typeface="Arial Black"/>
              </a:rPr>
              <a:t> </a:t>
            </a:r>
            <a:r>
              <a:rPr sz="1333" spc="-33" dirty="0">
                <a:latin typeface="Arial Black"/>
                <a:cs typeface="Arial Black"/>
              </a:rPr>
              <a:t>a </a:t>
            </a:r>
            <a:r>
              <a:rPr sz="1333" spc="-57" dirty="0">
                <a:latin typeface="Arial Black"/>
                <a:cs typeface="Arial Black"/>
              </a:rPr>
              <a:t>supportive </a:t>
            </a:r>
            <a:r>
              <a:rPr sz="1333" spc="-50" dirty="0">
                <a:latin typeface="Arial Black"/>
                <a:cs typeface="Arial Black"/>
              </a:rPr>
              <a:t>relationship</a:t>
            </a:r>
            <a:r>
              <a:rPr sz="1333" spc="-60" dirty="0">
                <a:latin typeface="Arial Black"/>
                <a:cs typeface="Arial Black"/>
              </a:rPr>
              <a:t> </a:t>
            </a:r>
            <a:r>
              <a:rPr sz="1333" spc="-73" dirty="0">
                <a:latin typeface="Arial Black"/>
                <a:cs typeface="Arial Black"/>
              </a:rPr>
              <a:t>between</a:t>
            </a:r>
            <a:r>
              <a:rPr sz="1333" spc="-37" dirty="0">
                <a:latin typeface="Arial Black"/>
                <a:cs typeface="Arial Black"/>
              </a:rPr>
              <a:t> </a:t>
            </a:r>
            <a:r>
              <a:rPr sz="1333" spc="-13" dirty="0">
                <a:latin typeface="Arial Black"/>
                <a:cs typeface="Arial Black"/>
              </a:rPr>
              <a:t>your</a:t>
            </a:r>
            <a:r>
              <a:rPr sz="1333" spc="-50" dirty="0">
                <a:latin typeface="Arial Black"/>
                <a:cs typeface="Arial Black"/>
              </a:rPr>
              <a:t> </a:t>
            </a:r>
            <a:r>
              <a:rPr sz="1333" spc="-47" dirty="0">
                <a:latin typeface="Arial Black"/>
                <a:cs typeface="Arial Black"/>
              </a:rPr>
              <a:t>program</a:t>
            </a:r>
            <a:r>
              <a:rPr sz="1333" spc="-50" dirty="0">
                <a:latin typeface="Arial Black"/>
                <a:cs typeface="Arial Black"/>
              </a:rPr>
              <a:t> </a:t>
            </a:r>
            <a:r>
              <a:rPr sz="1333" spc="-23" dirty="0">
                <a:latin typeface="Arial Black"/>
                <a:cs typeface="Arial Black"/>
              </a:rPr>
              <a:t>and</a:t>
            </a:r>
            <a:r>
              <a:rPr sz="1333" spc="-50" dirty="0">
                <a:latin typeface="Arial Black"/>
                <a:cs typeface="Arial Black"/>
              </a:rPr>
              <a:t> </a:t>
            </a:r>
            <a:r>
              <a:rPr sz="1333" spc="-40" dirty="0">
                <a:latin typeface="Arial Black"/>
                <a:cs typeface="Arial Black"/>
              </a:rPr>
              <a:t>ours</a:t>
            </a:r>
            <a:r>
              <a:rPr sz="1333" spc="-50" dirty="0">
                <a:latin typeface="Arial Black"/>
                <a:cs typeface="Arial Black"/>
              </a:rPr>
              <a:t> </a:t>
            </a:r>
            <a:r>
              <a:rPr sz="1333" spc="-13" dirty="0">
                <a:latin typeface="Arial Black"/>
                <a:cs typeface="Arial Black"/>
              </a:rPr>
              <a:t>that</a:t>
            </a:r>
            <a:r>
              <a:rPr sz="1333" spc="-50" dirty="0">
                <a:latin typeface="Arial Black"/>
                <a:cs typeface="Arial Black"/>
              </a:rPr>
              <a:t> </a:t>
            </a:r>
            <a:r>
              <a:rPr sz="1333" spc="-17" dirty="0">
                <a:latin typeface="Arial Black"/>
                <a:cs typeface="Arial Black"/>
              </a:rPr>
              <a:t>not </a:t>
            </a:r>
            <a:r>
              <a:rPr sz="1333" dirty="0">
                <a:latin typeface="Arial Black"/>
                <a:cs typeface="Arial Black"/>
              </a:rPr>
              <a:t>only</a:t>
            </a:r>
            <a:r>
              <a:rPr sz="1333" spc="30" dirty="0">
                <a:latin typeface="Arial Black"/>
                <a:cs typeface="Arial Black"/>
              </a:rPr>
              <a:t> </a:t>
            </a:r>
            <a:r>
              <a:rPr sz="1333" spc="-23" dirty="0">
                <a:latin typeface="Arial Black"/>
                <a:cs typeface="Arial Black"/>
              </a:rPr>
              <a:t>provides</a:t>
            </a:r>
            <a:r>
              <a:rPr sz="1333" spc="27" dirty="0">
                <a:latin typeface="Arial Black"/>
                <a:cs typeface="Arial Black"/>
              </a:rPr>
              <a:t> </a:t>
            </a:r>
            <a:r>
              <a:rPr sz="1333" spc="-40" dirty="0">
                <a:latin typeface="Arial Black"/>
                <a:cs typeface="Arial Black"/>
              </a:rPr>
              <a:t>research</a:t>
            </a:r>
            <a:r>
              <a:rPr sz="1333" spc="30" dirty="0">
                <a:latin typeface="Arial Black"/>
                <a:cs typeface="Arial Black"/>
              </a:rPr>
              <a:t> </a:t>
            </a:r>
            <a:r>
              <a:rPr sz="1333" dirty="0">
                <a:latin typeface="Arial Black"/>
                <a:cs typeface="Arial Black"/>
              </a:rPr>
              <a:t>but</a:t>
            </a:r>
            <a:r>
              <a:rPr sz="1333" spc="30" dirty="0">
                <a:latin typeface="Arial Black"/>
                <a:cs typeface="Arial Black"/>
              </a:rPr>
              <a:t> </a:t>
            </a:r>
            <a:r>
              <a:rPr sz="1333" dirty="0">
                <a:latin typeface="Arial Black"/>
                <a:cs typeface="Arial Black"/>
              </a:rPr>
              <a:t>will</a:t>
            </a:r>
            <a:r>
              <a:rPr sz="1333" spc="30" dirty="0">
                <a:latin typeface="Arial Black"/>
                <a:cs typeface="Arial Black"/>
              </a:rPr>
              <a:t> </a:t>
            </a:r>
            <a:r>
              <a:rPr sz="1333" dirty="0">
                <a:latin typeface="Arial Black"/>
                <a:cs typeface="Arial Black"/>
              </a:rPr>
              <a:t>also</a:t>
            </a:r>
            <a:r>
              <a:rPr sz="1333" spc="30" dirty="0">
                <a:latin typeface="Arial Black"/>
                <a:cs typeface="Arial Black"/>
              </a:rPr>
              <a:t> </a:t>
            </a:r>
            <a:r>
              <a:rPr sz="1333" dirty="0">
                <a:latin typeface="Arial Black"/>
                <a:cs typeface="Arial Black"/>
              </a:rPr>
              <a:t>lead</a:t>
            </a:r>
            <a:r>
              <a:rPr sz="1333" spc="30" dirty="0">
                <a:latin typeface="Arial Black"/>
                <a:cs typeface="Arial Black"/>
              </a:rPr>
              <a:t> </a:t>
            </a:r>
            <a:r>
              <a:rPr sz="1333" dirty="0">
                <a:latin typeface="Arial Black"/>
                <a:cs typeface="Arial Black"/>
              </a:rPr>
              <a:t>to</a:t>
            </a:r>
            <a:r>
              <a:rPr sz="1333" spc="30" dirty="0">
                <a:latin typeface="Arial Black"/>
                <a:cs typeface="Arial Black"/>
              </a:rPr>
              <a:t> </a:t>
            </a:r>
            <a:r>
              <a:rPr sz="1333" spc="-17" dirty="0">
                <a:latin typeface="Arial Black"/>
                <a:cs typeface="Arial Black"/>
              </a:rPr>
              <a:t>policy</a:t>
            </a:r>
            <a:r>
              <a:rPr sz="1333" spc="30" dirty="0">
                <a:latin typeface="Arial Black"/>
                <a:cs typeface="Arial Black"/>
              </a:rPr>
              <a:t> </a:t>
            </a:r>
            <a:r>
              <a:rPr sz="1333" spc="-63" dirty="0">
                <a:latin typeface="Arial Black"/>
                <a:cs typeface="Arial Black"/>
              </a:rPr>
              <a:t>changes</a:t>
            </a:r>
            <a:r>
              <a:rPr sz="1333" spc="30" dirty="0">
                <a:latin typeface="Arial Black"/>
                <a:cs typeface="Arial Black"/>
              </a:rPr>
              <a:t> </a:t>
            </a:r>
            <a:r>
              <a:rPr sz="1333" spc="-17" dirty="0">
                <a:latin typeface="Arial Black"/>
                <a:cs typeface="Arial Black"/>
              </a:rPr>
              <a:t>in </a:t>
            </a:r>
            <a:r>
              <a:rPr sz="1333" spc="-37" dirty="0">
                <a:latin typeface="Arial Black"/>
                <a:cs typeface="Arial Black"/>
              </a:rPr>
              <a:t>maternal</a:t>
            </a:r>
            <a:r>
              <a:rPr sz="1333" spc="-76" dirty="0">
                <a:latin typeface="Arial Black"/>
                <a:cs typeface="Arial Black"/>
              </a:rPr>
              <a:t> </a:t>
            </a:r>
            <a:r>
              <a:rPr sz="1333" spc="-93" dirty="0">
                <a:latin typeface="Arial Black"/>
                <a:cs typeface="Arial Black"/>
              </a:rPr>
              <a:t>care</a:t>
            </a:r>
            <a:r>
              <a:rPr sz="1333" spc="-17" dirty="0">
                <a:latin typeface="Arial Black"/>
                <a:cs typeface="Arial Black"/>
              </a:rPr>
              <a:t> </a:t>
            </a:r>
            <a:r>
              <a:rPr sz="1333" spc="-83" dirty="0">
                <a:latin typeface="Arial Black"/>
                <a:cs typeface="Arial Black"/>
              </a:rPr>
              <a:t>based</a:t>
            </a:r>
            <a:r>
              <a:rPr sz="1333" spc="-27" dirty="0">
                <a:latin typeface="Arial Black"/>
                <a:cs typeface="Arial Black"/>
              </a:rPr>
              <a:t> </a:t>
            </a:r>
            <a:r>
              <a:rPr sz="1333" dirty="0">
                <a:latin typeface="Arial Black"/>
                <a:cs typeface="Arial Black"/>
              </a:rPr>
              <a:t>on</a:t>
            </a:r>
            <a:r>
              <a:rPr sz="1333" spc="-110" dirty="0">
                <a:latin typeface="Arial Black"/>
                <a:cs typeface="Arial Black"/>
              </a:rPr>
              <a:t> </a:t>
            </a:r>
            <a:r>
              <a:rPr sz="1333" spc="-47" dirty="0">
                <a:latin typeface="Arial Black"/>
                <a:cs typeface="Arial Black"/>
              </a:rPr>
              <a:t>data.</a:t>
            </a:r>
            <a:r>
              <a:rPr sz="1333" spc="-63" dirty="0">
                <a:latin typeface="Arial Black"/>
                <a:cs typeface="Arial Black"/>
              </a:rPr>
              <a:t> </a:t>
            </a:r>
            <a:r>
              <a:rPr sz="1333" spc="-130" dirty="0">
                <a:latin typeface="Arial Black"/>
                <a:cs typeface="Arial Black"/>
              </a:rPr>
              <a:t>As</a:t>
            </a:r>
            <a:r>
              <a:rPr sz="1333" spc="20" dirty="0">
                <a:latin typeface="Arial Black"/>
                <a:cs typeface="Arial Black"/>
              </a:rPr>
              <a:t> </a:t>
            </a:r>
            <a:r>
              <a:rPr sz="1333" spc="-57" dirty="0">
                <a:latin typeface="Arial Black"/>
                <a:cs typeface="Arial Black"/>
              </a:rPr>
              <a:t>well</a:t>
            </a:r>
            <a:r>
              <a:rPr sz="1333" spc="-53" dirty="0">
                <a:latin typeface="Arial Black"/>
                <a:cs typeface="Arial Black"/>
              </a:rPr>
              <a:t> </a:t>
            </a:r>
            <a:r>
              <a:rPr sz="1333" dirty="0">
                <a:latin typeface="Arial Black"/>
                <a:cs typeface="Arial Black"/>
              </a:rPr>
              <a:t>as</a:t>
            </a:r>
            <a:r>
              <a:rPr sz="1333" spc="223" dirty="0">
                <a:latin typeface="Arial Black"/>
                <a:cs typeface="Arial Black"/>
              </a:rPr>
              <a:t> </a:t>
            </a:r>
            <a:r>
              <a:rPr sz="1333" dirty="0">
                <a:latin typeface="Arial Black"/>
                <a:cs typeface="Arial Black"/>
              </a:rPr>
              <a:t>funding</a:t>
            </a:r>
            <a:r>
              <a:rPr sz="1333" spc="323" dirty="0">
                <a:latin typeface="Arial Black"/>
                <a:cs typeface="Arial Black"/>
              </a:rPr>
              <a:t> </a:t>
            </a:r>
            <a:r>
              <a:rPr sz="1333" dirty="0">
                <a:latin typeface="Arial Black"/>
                <a:cs typeface="Arial Black"/>
              </a:rPr>
              <a:t>to</a:t>
            </a:r>
            <a:r>
              <a:rPr sz="1333" spc="-60" dirty="0">
                <a:latin typeface="Arial Black"/>
                <a:cs typeface="Arial Black"/>
              </a:rPr>
              <a:t> </a:t>
            </a:r>
            <a:r>
              <a:rPr sz="1333" spc="-57" dirty="0">
                <a:latin typeface="Arial Black"/>
                <a:cs typeface="Arial Black"/>
              </a:rPr>
              <a:t>make</a:t>
            </a:r>
            <a:r>
              <a:rPr sz="1333" spc="-53" dirty="0">
                <a:latin typeface="Arial Black"/>
                <a:cs typeface="Arial Black"/>
              </a:rPr>
              <a:t> </a:t>
            </a:r>
            <a:r>
              <a:rPr sz="1333" spc="-33" dirty="0">
                <a:latin typeface="Arial Black"/>
                <a:cs typeface="Arial Black"/>
              </a:rPr>
              <a:t>this</a:t>
            </a:r>
            <a:r>
              <a:rPr sz="1333" spc="-60" dirty="0">
                <a:latin typeface="Arial Black"/>
                <a:cs typeface="Arial Black"/>
              </a:rPr>
              <a:t> </a:t>
            </a:r>
            <a:r>
              <a:rPr sz="1333" spc="-33" dirty="0">
                <a:latin typeface="Arial Black"/>
                <a:cs typeface="Arial Black"/>
              </a:rPr>
              <a:t>a </a:t>
            </a:r>
            <a:r>
              <a:rPr sz="1333" dirty="0">
                <a:latin typeface="Arial Black"/>
                <a:cs typeface="Arial Black"/>
              </a:rPr>
              <a:t>full</a:t>
            </a:r>
            <a:r>
              <a:rPr sz="1333" spc="47" dirty="0">
                <a:latin typeface="Arial Black"/>
                <a:cs typeface="Arial Black"/>
              </a:rPr>
              <a:t> </a:t>
            </a:r>
            <a:r>
              <a:rPr sz="1333" dirty="0">
                <a:latin typeface="Arial Black"/>
                <a:cs typeface="Arial Black"/>
              </a:rPr>
              <a:t>time</a:t>
            </a:r>
            <a:r>
              <a:rPr sz="1333" spc="50" dirty="0">
                <a:latin typeface="Arial Black"/>
                <a:cs typeface="Arial Black"/>
              </a:rPr>
              <a:t> </a:t>
            </a:r>
            <a:r>
              <a:rPr sz="1333" spc="-33" dirty="0">
                <a:latin typeface="Arial Black"/>
                <a:cs typeface="Arial Black"/>
              </a:rPr>
              <a:t>career</a:t>
            </a:r>
            <a:r>
              <a:rPr sz="1333" spc="50" dirty="0">
                <a:latin typeface="Arial Black"/>
                <a:cs typeface="Arial Black"/>
              </a:rPr>
              <a:t> </a:t>
            </a:r>
            <a:r>
              <a:rPr sz="1333" dirty="0">
                <a:latin typeface="Arial Black"/>
                <a:cs typeface="Arial Black"/>
              </a:rPr>
              <a:t>for</a:t>
            </a:r>
            <a:r>
              <a:rPr sz="1333" spc="50" dirty="0">
                <a:latin typeface="Arial Black"/>
                <a:cs typeface="Arial Black"/>
              </a:rPr>
              <a:t> </a:t>
            </a:r>
            <a:r>
              <a:rPr sz="1333" spc="-7" dirty="0">
                <a:latin typeface="Arial Black"/>
                <a:cs typeface="Arial Black"/>
              </a:rPr>
              <a:t>those</a:t>
            </a:r>
            <a:r>
              <a:rPr sz="1333" spc="47" dirty="0">
                <a:latin typeface="Arial Black"/>
                <a:cs typeface="Arial Black"/>
              </a:rPr>
              <a:t> </a:t>
            </a:r>
            <a:r>
              <a:rPr sz="1333" dirty="0">
                <a:latin typeface="Arial Black"/>
                <a:cs typeface="Arial Black"/>
              </a:rPr>
              <a:t>in</a:t>
            </a:r>
            <a:r>
              <a:rPr sz="1333" spc="50" dirty="0">
                <a:latin typeface="Arial Black"/>
                <a:cs typeface="Arial Black"/>
              </a:rPr>
              <a:t> </a:t>
            </a:r>
            <a:r>
              <a:rPr sz="1333" dirty="0">
                <a:latin typeface="Arial Black"/>
                <a:cs typeface="Arial Black"/>
              </a:rPr>
              <a:t>the</a:t>
            </a:r>
            <a:r>
              <a:rPr sz="1333" spc="50" dirty="0">
                <a:latin typeface="Arial Black"/>
                <a:cs typeface="Arial Black"/>
              </a:rPr>
              <a:t> </a:t>
            </a:r>
            <a:r>
              <a:rPr sz="1333" spc="-33" dirty="0">
                <a:latin typeface="Arial Black"/>
                <a:cs typeface="Arial Black"/>
              </a:rPr>
              <a:t>organization</a:t>
            </a:r>
            <a:r>
              <a:rPr sz="1333" spc="50" dirty="0">
                <a:latin typeface="Arial Black"/>
                <a:cs typeface="Arial Black"/>
              </a:rPr>
              <a:t> </a:t>
            </a:r>
            <a:r>
              <a:rPr sz="1333" dirty="0">
                <a:latin typeface="Arial Black"/>
                <a:cs typeface="Arial Black"/>
              </a:rPr>
              <a:t>as</a:t>
            </a:r>
            <a:r>
              <a:rPr sz="1333" spc="50" dirty="0">
                <a:latin typeface="Arial Black"/>
                <a:cs typeface="Arial Black"/>
              </a:rPr>
              <a:t> </a:t>
            </a:r>
            <a:r>
              <a:rPr sz="1333" dirty="0">
                <a:latin typeface="Arial Black"/>
                <a:cs typeface="Arial Black"/>
              </a:rPr>
              <a:t>well</a:t>
            </a:r>
            <a:r>
              <a:rPr sz="1333" spc="47" dirty="0">
                <a:latin typeface="Arial Black"/>
                <a:cs typeface="Arial Black"/>
              </a:rPr>
              <a:t> </a:t>
            </a:r>
            <a:r>
              <a:rPr sz="1333" dirty="0">
                <a:latin typeface="Arial Black"/>
                <a:cs typeface="Arial Black"/>
              </a:rPr>
              <a:t>as</a:t>
            </a:r>
            <a:r>
              <a:rPr sz="1333" spc="50" dirty="0">
                <a:latin typeface="Arial Black"/>
                <a:cs typeface="Arial Black"/>
              </a:rPr>
              <a:t> </a:t>
            </a:r>
            <a:r>
              <a:rPr sz="1333" spc="-13" dirty="0">
                <a:latin typeface="Arial Black"/>
                <a:cs typeface="Arial Black"/>
              </a:rPr>
              <a:t>more </a:t>
            </a:r>
            <a:r>
              <a:rPr sz="1333" spc="-160" dirty="0">
                <a:latin typeface="Arial Black"/>
                <a:cs typeface="Arial Black"/>
              </a:rPr>
              <a:t>access</a:t>
            </a:r>
            <a:r>
              <a:rPr sz="1333" spc="47" dirty="0">
                <a:latin typeface="Arial Black"/>
                <a:cs typeface="Arial Black"/>
              </a:rPr>
              <a:t> </a:t>
            </a:r>
            <a:r>
              <a:rPr sz="1333" dirty="0">
                <a:latin typeface="Arial Black"/>
                <a:cs typeface="Arial Black"/>
              </a:rPr>
              <a:t>to</a:t>
            </a:r>
            <a:r>
              <a:rPr sz="1333" spc="-103" dirty="0">
                <a:latin typeface="Arial Black"/>
                <a:cs typeface="Arial Black"/>
              </a:rPr>
              <a:t> </a:t>
            </a:r>
            <a:r>
              <a:rPr sz="1333" spc="-87" dirty="0">
                <a:latin typeface="Arial Black"/>
                <a:cs typeface="Arial Black"/>
              </a:rPr>
              <a:t>resources</a:t>
            </a:r>
            <a:r>
              <a:rPr sz="1333" spc="-23" dirty="0">
                <a:latin typeface="Arial Black"/>
                <a:cs typeface="Arial Black"/>
              </a:rPr>
              <a:t> </a:t>
            </a:r>
            <a:r>
              <a:rPr sz="1333" dirty="0">
                <a:latin typeface="Arial Black"/>
                <a:cs typeface="Arial Black"/>
              </a:rPr>
              <a:t>to</a:t>
            </a:r>
            <a:r>
              <a:rPr sz="1333" spc="-27" dirty="0">
                <a:latin typeface="Arial Black"/>
                <a:cs typeface="Arial Black"/>
              </a:rPr>
              <a:t> </a:t>
            </a:r>
            <a:r>
              <a:rPr sz="1333" spc="-40" dirty="0">
                <a:latin typeface="Arial Black"/>
                <a:cs typeface="Arial Black"/>
              </a:rPr>
              <a:t>have</a:t>
            </a:r>
            <a:r>
              <a:rPr sz="1333" spc="-27" dirty="0">
                <a:latin typeface="Arial Black"/>
                <a:cs typeface="Arial Black"/>
              </a:rPr>
              <a:t> </a:t>
            </a:r>
            <a:r>
              <a:rPr sz="1333" dirty="0">
                <a:latin typeface="Arial Black"/>
                <a:cs typeface="Arial Black"/>
              </a:rPr>
              <a:t>a</a:t>
            </a:r>
            <a:r>
              <a:rPr sz="1333" spc="-27" dirty="0">
                <a:latin typeface="Arial Black"/>
                <a:cs typeface="Arial Black"/>
              </a:rPr>
              <a:t> </a:t>
            </a:r>
            <a:r>
              <a:rPr sz="1333" spc="-63" dirty="0">
                <a:latin typeface="Arial Black"/>
                <a:cs typeface="Arial Black"/>
              </a:rPr>
              <a:t>sustainable</a:t>
            </a:r>
            <a:r>
              <a:rPr sz="1333" spc="-27" dirty="0">
                <a:latin typeface="Arial Black"/>
                <a:cs typeface="Arial Black"/>
              </a:rPr>
              <a:t> </a:t>
            </a:r>
            <a:r>
              <a:rPr sz="1333" spc="-33" dirty="0">
                <a:latin typeface="Arial Black"/>
                <a:cs typeface="Arial Black"/>
              </a:rPr>
              <a:t>program</a:t>
            </a:r>
            <a:r>
              <a:rPr sz="1333" spc="-27" dirty="0">
                <a:latin typeface="Arial Black"/>
                <a:cs typeface="Arial Black"/>
              </a:rPr>
              <a:t> </a:t>
            </a:r>
            <a:r>
              <a:rPr sz="1333" dirty="0">
                <a:latin typeface="Arial Black"/>
                <a:cs typeface="Arial Black"/>
              </a:rPr>
              <a:t>and</a:t>
            </a:r>
            <a:r>
              <a:rPr sz="1333" spc="-27" dirty="0">
                <a:latin typeface="Arial Black"/>
                <a:cs typeface="Arial Black"/>
              </a:rPr>
              <a:t> </a:t>
            </a:r>
            <a:r>
              <a:rPr sz="1333" spc="-63" dirty="0">
                <a:latin typeface="Arial Black"/>
                <a:cs typeface="Arial Black"/>
              </a:rPr>
              <a:t>decrease </a:t>
            </a:r>
            <a:r>
              <a:rPr sz="1333" dirty="0">
                <a:latin typeface="Arial Black"/>
                <a:cs typeface="Arial Black"/>
              </a:rPr>
              <a:t>mortality</a:t>
            </a:r>
            <a:r>
              <a:rPr sz="1333" spc="250" dirty="0">
                <a:latin typeface="Arial Black"/>
                <a:cs typeface="Arial Black"/>
              </a:rPr>
              <a:t>  </a:t>
            </a:r>
            <a:r>
              <a:rPr sz="1333" dirty="0">
                <a:latin typeface="Arial Black"/>
                <a:cs typeface="Arial Black"/>
              </a:rPr>
              <a:t>and</a:t>
            </a:r>
            <a:r>
              <a:rPr sz="1333" spc="250" dirty="0">
                <a:latin typeface="Arial Black"/>
                <a:cs typeface="Arial Black"/>
              </a:rPr>
              <a:t>  </a:t>
            </a:r>
            <a:r>
              <a:rPr sz="1333" dirty="0">
                <a:latin typeface="Arial Black"/>
                <a:cs typeface="Arial Black"/>
              </a:rPr>
              <a:t>morbidity</a:t>
            </a:r>
            <a:r>
              <a:rPr sz="1333" spc="250" dirty="0">
                <a:latin typeface="Arial Black"/>
                <a:cs typeface="Arial Black"/>
              </a:rPr>
              <a:t>  </a:t>
            </a:r>
            <a:r>
              <a:rPr sz="1333" dirty="0">
                <a:latin typeface="Arial Black"/>
                <a:cs typeface="Arial Black"/>
              </a:rPr>
              <a:t>in</a:t>
            </a:r>
            <a:r>
              <a:rPr sz="1333" spc="250" dirty="0">
                <a:latin typeface="Arial Black"/>
                <a:cs typeface="Arial Black"/>
              </a:rPr>
              <a:t>  </a:t>
            </a:r>
            <a:r>
              <a:rPr sz="1333" dirty="0">
                <a:latin typeface="Arial Black"/>
                <a:cs typeface="Arial Black"/>
              </a:rPr>
              <a:t>the</a:t>
            </a:r>
            <a:r>
              <a:rPr sz="1333" spc="250" dirty="0">
                <a:latin typeface="Arial Black"/>
                <a:cs typeface="Arial Black"/>
              </a:rPr>
              <a:t>  </a:t>
            </a:r>
            <a:r>
              <a:rPr sz="1333" dirty="0">
                <a:latin typeface="Arial Black"/>
                <a:cs typeface="Arial Black"/>
              </a:rPr>
              <a:t>many</a:t>
            </a:r>
            <a:r>
              <a:rPr sz="1333" spc="250" dirty="0">
                <a:latin typeface="Arial Black"/>
                <a:cs typeface="Arial Black"/>
              </a:rPr>
              <a:t>  </a:t>
            </a:r>
            <a:r>
              <a:rPr sz="1333" dirty="0">
                <a:latin typeface="Arial Black"/>
                <a:cs typeface="Arial Black"/>
              </a:rPr>
              <a:t>times</a:t>
            </a:r>
            <a:r>
              <a:rPr sz="1333" spc="253" dirty="0">
                <a:latin typeface="Arial Black"/>
                <a:cs typeface="Arial Black"/>
              </a:rPr>
              <a:t>  </a:t>
            </a:r>
            <a:r>
              <a:rPr sz="1333" spc="-17" dirty="0">
                <a:latin typeface="Arial Black"/>
                <a:cs typeface="Arial Black"/>
              </a:rPr>
              <a:t>forgotten </a:t>
            </a:r>
            <a:r>
              <a:rPr sz="1333" spc="-70" dirty="0">
                <a:latin typeface="Arial Black"/>
                <a:cs typeface="Arial Black"/>
              </a:rPr>
              <a:t>Southwestern</a:t>
            </a:r>
            <a:r>
              <a:rPr sz="1333" spc="-43" dirty="0">
                <a:latin typeface="Arial Black"/>
                <a:cs typeface="Arial Black"/>
              </a:rPr>
              <a:t> Illinois</a:t>
            </a:r>
            <a:r>
              <a:rPr sz="1333" spc="-33" dirty="0">
                <a:latin typeface="Arial Black"/>
                <a:cs typeface="Arial Black"/>
              </a:rPr>
              <a:t> </a:t>
            </a:r>
            <a:r>
              <a:rPr sz="1333" spc="-37" dirty="0">
                <a:latin typeface="Arial Black"/>
                <a:cs typeface="Arial Black"/>
              </a:rPr>
              <a:t>area.</a:t>
            </a:r>
            <a:r>
              <a:rPr sz="1333" spc="-33" dirty="0">
                <a:latin typeface="Arial Black"/>
                <a:cs typeface="Arial Black"/>
              </a:rPr>
              <a:t> </a:t>
            </a:r>
            <a:r>
              <a:rPr sz="1333" spc="-87" dirty="0">
                <a:latin typeface="Arial Black"/>
                <a:cs typeface="Arial Black"/>
              </a:rPr>
              <a:t>(East</a:t>
            </a:r>
            <a:r>
              <a:rPr sz="1333" spc="-23" dirty="0">
                <a:latin typeface="Arial Black"/>
                <a:cs typeface="Arial Black"/>
              </a:rPr>
              <a:t> </a:t>
            </a:r>
            <a:r>
              <a:rPr sz="1333" spc="-60" dirty="0">
                <a:latin typeface="Arial Black"/>
                <a:cs typeface="Arial Black"/>
              </a:rPr>
              <a:t>St.</a:t>
            </a:r>
            <a:r>
              <a:rPr sz="1333" spc="-33" dirty="0">
                <a:latin typeface="Arial Black"/>
                <a:cs typeface="Arial Black"/>
              </a:rPr>
              <a:t> </a:t>
            </a:r>
            <a:r>
              <a:rPr sz="1333" spc="-57" dirty="0">
                <a:latin typeface="Arial Black"/>
                <a:cs typeface="Arial Black"/>
              </a:rPr>
              <a:t>Louis,</a:t>
            </a:r>
            <a:r>
              <a:rPr sz="1333" spc="-33" dirty="0">
                <a:latin typeface="Arial Black"/>
                <a:cs typeface="Arial Black"/>
              </a:rPr>
              <a:t> </a:t>
            </a:r>
            <a:r>
              <a:rPr sz="1333" spc="-63" dirty="0">
                <a:latin typeface="Arial Black"/>
                <a:cs typeface="Arial Black"/>
              </a:rPr>
              <a:t>Cahokia,</a:t>
            </a:r>
            <a:r>
              <a:rPr sz="1333" spc="-33" dirty="0">
                <a:latin typeface="Arial Black"/>
                <a:cs typeface="Arial Black"/>
              </a:rPr>
              <a:t> Granite</a:t>
            </a:r>
            <a:r>
              <a:rPr sz="1333" spc="-30" dirty="0">
                <a:latin typeface="Arial Black"/>
                <a:cs typeface="Arial Black"/>
              </a:rPr>
              <a:t> </a:t>
            </a:r>
            <a:r>
              <a:rPr sz="1333" spc="-7" dirty="0">
                <a:latin typeface="Arial Black"/>
                <a:cs typeface="Arial Black"/>
              </a:rPr>
              <a:t>City, </a:t>
            </a:r>
            <a:r>
              <a:rPr sz="1333" spc="-57" dirty="0">
                <a:latin typeface="Arial Black"/>
                <a:cs typeface="Arial Black"/>
              </a:rPr>
              <a:t>Alton,</a:t>
            </a:r>
            <a:r>
              <a:rPr sz="1333" spc="-97" dirty="0">
                <a:latin typeface="Arial Black"/>
                <a:cs typeface="Arial Black"/>
              </a:rPr>
              <a:t> </a:t>
            </a:r>
            <a:r>
              <a:rPr sz="1333" spc="-57" dirty="0">
                <a:latin typeface="Arial Black"/>
                <a:cs typeface="Arial Black"/>
              </a:rPr>
              <a:t>and</a:t>
            </a:r>
            <a:r>
              <a:rPr sz="1333" spc="-93" dirty="0">
                <a:latin typeface="Arial Black"/>
                <a:cs typeface="Arial Black"/>
              </a:rPr>
              <a:t> </a:t>
            </a:r>
            <a:r>
              <a:rPr sz="1333" spc="-7" dirty="0">
                <a:latin typeface="Arial Black"/>
                <a:cs typeface="Arial Black"/>
              </a:rPr>
              <a:t>more)</a:t>
            </a:r>
            <a:endParaRPr sz="1333">
              <a:latin typeface="Arial Black"/>
              <a:cs typeface="Arial Black"/>
            </a:endParaRPr>
          </a:p>
          <a:p>
            <a:pPr>
              <a:lnSpc>
                <a:spcPct val="100000"/>
              </a:lnSpc>
              <a:spcBef>
                <a:spcPts val="470"/>
              </a:spcBef>
            </a:pPr>
            <a:endParaRPr sz="1333">
              <a:latin typeface="Arial Black"/>
              <a:cs typeface="Arial Black"/>
            </a:endParaRPr>
          </a:p>
          <a:p>
            <a:pPr marL="8467" algn="just">
              <a:lnSpc>
                <a:spcPct val="100000"/>
              </a:lnSpc>
            </a:pPr>
            <a:r>
              <a:rPr sz="1333" b="1" spc="-63" dirty="0">
                <a:solidFill>
                  <a:srgbClr val="FF8F45"/>
                </a:solidFill>
                <a:latin typeface="Trebuchet MS"/>
                <a:cs typeface="Trebuchet MS"/>
              </a:rPr>
              <a:t>For</a:t>
            </a:r>
            <a:r>
              <a:rPr sz="1333" b="1" spc="-57" dirty="0">
                <a:solidFill>
                  <a:srgbClr val="FF8F45"/>
                </a:solidFill>
                <a:latin typeface="Trebuchet MS"/>
                <a:cs typeface="Trebuchet MS"/>
              </a:rPr>
              <a:t> </a:t>
            </a:r>
            <a:r>
              <a:rPr sz="1333" b="1" spc="-33" dirty="0">
                <a:solidFill>
                  <a:srgbClr val="FF8F45"/>
                </a:solidFill>
                <a:latin typeface="Trebuchet MS"/>
                <a:cs typeface="Trebuchet MS"/>
              </a:rPr>
              <a:t>more</a:t>
            </a:r>
            <a:r>
              <a:rPr sz="1333" b="1" spc="-57" dirty="0">
                <a:solidFill>
                  <a:srgbClr val="FF8F45"/>
                </a:solidFill>
                <a:latin typeface="Trebuchet MS"/>
                <a:cs typeface="Trebuchet MS"/>
              </a:rPr>
              <a:t> </a:t>
            </a:r>
            <a:r>
              <a:rPr sz="1333" b="1" spc="-23" dirty="0">
                <a:solidFill>
                  <a:srgbClr val="FF8F45"/>
                </a:solidFill>
                <a:latin typeface="Trebuchet MS"/>
                <a:cs typeface="Trebuchet MS"/>
              </a:rPr>
              <a:t>information</a:t>
            </a:r>
            <a:r>
              <a:rPr sz="1333" b="1" spc="-57" dirty="0">
                <a:solidFill>
                  <a:srgbClr val="FF8F45"/>
                </a:solidFill>
                <a:latin typeface="Trebuchet MS"/>
                <a:cs typeface="Trebuchet MS"/>
              </a:rPr>
              <a:t> </a:t>
            </a:r>
            <a:r>
              <a:rPr sz="1333" b="1" spc="-33" dirty="0">
                <a:solidFill>
                  <a:srgbClr val="FF8F45"/>
                </a:solidFill>
                <a:latin typeface="Trebuchet MS"/>
                <a:cs typeface="Trebuchet MS"/>
              </a:rPr>
              <a:t>:</a:t>
            </a:r>
            <a:endParaRPr sz="1333">
              <a:latin typeface="Trebuchet MS"/>
              <a:cs typeface="Trebuchet MS"/>
            </a:endParaRPr>
          </a:p>
          <a:p>
            <a:pPr marL="461033">
              <a:lnSpc>
                <a:spcPct val="100000"/>
              </a:lnSpc>
              <a:spcBef>
                <a:spcPts val="33"/>
              </a:spcBef>
            </a:pPr>
            <a:r>
              <a:rPr sz="1333" spc="-113" dirty="0">
                <a:latin typeface="Arial Black"/>
                <a:cs typeface="Arial Black"/>
              </a:rPr>
              <a:t>618-381-</a:t>
            </a:r>
            <a:r>
              <a:rPr sz="1333" spc="-13" dirty="0">
                <a:latin typeface="Arial Black"/>
                <a:cs typeface="Arial Black"/>
              </a:rPr>
              <a:t>1716</a:t>
            </a:r>
            <a:endParaRPr sz="1333">
              <a:latin typeface="Arial Black"/>
              <a:cs typeface="Arial Black"/>
            </a:endParaRPr>
          </a:p>
          <a:p>
            <a:pPr marL="461033">
              <a:lnSpc>
                <a:spcPct val="100000"/>
              </a:lnSpc>
              <a:spcBef>
                <a:spcPts val="250"/>
              </a:spcBef>
            </a:pPr>
            <a:r>
              <a:rPr sz="1333" spc="-113" dirty="0">
                <a:latin typeface="Arial Black"/>
                <a:cs typeface="Arial Black"/>
              </a:rPr>
              <a:t>618-570-</a:t>
            </a:r>
            <a:r>
              <a:rPr sz="1333" spc="-140" dirty="0">
                <a:latin typeface="Arial Black"/>
                <a:cs typeface="Arial Black"/>
              </a:rPr>
              <a:t>3169</a:t>
            </a:r>
            <a:r>
              <a:rPr sz="1333" spc="-57" dirty="0">
                <a:latin typeface="Arial Black"/>
                <a:cs typeface="Arial Black"/>
              </a:rPr>
              <a:t> </a:t>
            </a:r>
            <a:r>
              <a:rPr sz="1333" spc="-80" dirty="0">
                <a:latin typeface="Arial Black"/>
                <a:cs typeface="Arial Black"/>
              </a:rPr>
              <a:t>office</a:t>
            </a:r>
            <a:r>
              <a:rPr sz="1333" spc="-53" dirty="0">
                <a:latin typeface="Arial Black"/>
                <a:cs typeface="Arial Black"/>
              </a:rPr>
              <a:t> </a:t>
            </a:r>
            <a:r>
              <a:rPr sz="1333" spc="-13" dirty="0">
                <a:latin typeface="Arial Black"/>
                <a:cs typeface="Arial Black"/>
              </a:rPr>
              <a:t>line</a:t>
            </a:r>
            <a:endParaRPr sz="1333">
              <a:latin typeface="Arial Black"/>
              <a:cs typeface="Arial Black"/>
            </a:endParaRPr>
          </a:p>
          <a:p>
            <a:pPr marL="461033">
              <a:lnSpc>
                <a:spcPct val="100000"/>
              </a:lnSpc>
              <a:spcBef>
                <a:spcPts val="490"/>
              </a:spcBef>
            </a:pPr>
            <a:r>
              <a:rPr sz="1333" spc="-33" dirty="0">
                <a:latin typeface="Arial Black"/>
                <a:cs typeface="Arial Black"/>
                <a:hlinkClick r:id="rId6"/>
              </a:rPr>
              <a:t>cbean@doulabean.com</a:t>
            </a:r>
            <a:endParaRPr sz="1333">
              <a:latin typeface="Arial Black"/>
              <a:cs typeface="Arial Black"/>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78"/>
          <p:cNvSpPr txBox="1">
            <a:spLocks noGrp="1"/>
          </p:cNvSpPr>
          <p:nvPr>
            <p:ph type="title"/>
          </p:nvPr>
        </p:nvSpPr>
        <p:spPr>
          <a:xfrm>
            <a:off x="366083" y="389027"/>
            <a:ext cx="10972800" cy="1325563"/>
          </a:xfrm>
          <a:prstGeom prst="rect">
            <a:avLst/>
          </a:prstGeom>
          <a:noFill/>
          <a:ln>
            <a:noFill/>
          </a:ln>
        </p:spPr>
        <p:txBody>
          <a:bodyPr spcFirstLastPara="1" wrap="square" lIns="91425" tIns="45700" rIns="91425" bIns="45700" anchor="ctr" anchorCtr="0">
            <a:noAutofit/>
          </a:bodyPr>
          <a:lstStyle/>
          <a:p>
            <a:pPr>
              <a:buSzPts val="3600"/>
            </a:pPr>
            <a:r>
              <a:rPr lang="en-US" dirty="0">
                <a:solidFill>
                  <a:srgbClr val="1C498B"/>
                </a:solidFill>
              </a:rPr>
              <a:t>Doula and Home Visiting Services Panelists</a:t>
            </a:r>
          </a:p>
        </p:txBody>
      </p:sp>
      <p:sp>
        <p:nvSpPr>
          <p:cNvPr id="1560" name="Google Shape;1560;p178"/>
          <p:cNvSpPr txBox="1">
            <a:spLocks noGrp="1"/>
          </p:cNvSpPr>
          <p:nvPr>
            <p:ph type="body" idx="1"/>
          </p:nvPr>
        </p:nvSpPr>
        <p:spPr>
          <a:xfrm>
            <a:off x="487362" y="1805781"/>
            <a:ext cx="11515927" cy="4829969"/>
          </a:xfrm>
          <a:prstGeom prst="rect">
            <a:avLst/>
          </a:prstGeom>
          <a:noFill/>
          <a:ln>
            <a:noFill/>
          </a:ln>
        </p:spPr>
        <p:txBody>
          <a:bodyPr spcFirstLastPara="1" wrap="square" lIns="91425" tIns="45700" rIns="91425" bIns="45700" anchor="t" anchorCtr="0">
            <a:noAutofit/>
          </a:bodyPr>
          <a:lstStyle/>
          <a:p>
            <a:pPr marL="692150" indent="-514350">
              <a:buAutoNum type="arabicPeriod"/>
            </a:pPr>
            <a:r>
              <a:rPr lang="en-US" sz="3200" b="1" dirty="0">
                <a:solidFill>
                  <a:srgbClr val="444C55"/>
                </a:solidFill>
              </a:rPr>
              <a:t>Community-based Doula Services</a:t>
            </a:r>
            <a:endParaRPr lang="en-US" sz="3200" b="1" dirty="0"/>
          </a:p>
          <a:p>
            <a:pPr marL="1149350" lvl="1">
              <a:buClr>
                <a:srgbClr val="1C498B"/>
              </a:buClr>
              <a:buFont typeface="Courier New"/>
              <a:buChar char="o"/>
            </a:pPr>
            <a:r>
              <a:rPr lang="en-US" sz="2800" dirty="0"/>
              <a:t>Brenda Reyes: </a:t>
            </a:r>
            <a:r>
              <a:rPr lang="en-US" sz="2800" dirty="0" err="1"/>
              <a:t>HealthConnect</a:t>
            </a:r>
            <a:r>
              <a:rPr lang="en-US" sz="2800" dirty="0"/>
              <a:t> One</a:t>
            </a:r>
          </a:p>
          <a:p>
            <a:pPr marL="1149350" lvl="1">
              <a:buClr>
                <a:srgbClr val="1C498B"/>
              </a:buClr>
              <a:buFont typeface="Courier New"/>
              <a:buChar char="o"/>
            </a:pPr>
            <a:r>
              <a:rPr lang="en-US" sz="2800" dirty="0"/>
              <a:t>Marvella Ying: M-Brace Birthing LLC &amp; The Doula Lab</a:t>
            </a:r>
          </a:p>
          <a:p>
            <a:pPr marL="692150" indent="-514350">
              <a:buAutoNum type="arabicPeriod"/>
            </a:pPr>
            <a:r>
              <a:rPr lang="en-US" sz="3200" b="1" dirty="0"/>
              <a:t>Home Visiting Services</a:t>
            </a:r>
          </a:p>
          <a:p>
            <a:pPr marL="1149350" lvl="1">
              <a:buFont typeface="Courier New"/>
              <a:buChar char="o"/>
            </a:pPr>
            <a:r>
              <a:rPr lang="en-US" sz="2800" dirty="0"/>
              <a:t>Jennifer Rosseau &amp; Kathryn Kaintz Bender: Family Connects Chicago at Rush</a:t>
            </a:r>
          </a:p>
          <a:p>
            <a:pPr marL="1149350" lvl="1">
              <a:buFont typeface="Courier New"/>
              <a:buChar char="o"/>
            </a:pPr>
            <a:r>
              <a:rPr lang="en-US" sz="2800" dirty="0"/>
              <a:t>Damaris Montano: Lake County Health Department and Community Health Center, Family Case Management</a:t>
            </a:r>
          </a:p>
          <a:p>
            <a:pPr marL="228600" indent="-50800">
              <a:spcBef>
                <a:spcPts val="0"/>
              </a:spcBef>
              <a:buSzPts val="2800"/>
              <a:buNone/>
            </a:pPr>
            <a:endParaRPr lang="en-US" sz="2800" b="1" dirty="0"/>
          </a:p>
          <a:p>
            <a:pPr marL="0" indent="0">
              <a:spcBef>
                <a:spcPts val="0"/>
              </a:spcBef>
              <a:buSzPts val="2800"/>
              <a:buNone/>
            </a:pPr>
            <a:endParaRPr lang="en-US" sz="2800" dirty="0"/>
          </a:p>
        </p:txBody>
      </p:sp>
      <p:sp>
        <p:nvSpPr>
          <p:cNvPr id="1561" name="Google Shape;1561;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a:t>
            </a:fld>
            <a:endParaRPr/>
          </a:p>
        </p:txBody>
      </p:sp>
      <p:sp>
        <p:nvSpPr>
          <p:cNvPr id="1562" name="Google Shape;1562;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Illinois Perinatal Quality Collaborative</a:t>
            </a:r>
            <a:endParaRPr/>
          </a:p>
        </p:txBody>
      </p:sp>
      <p:sp>
        <p:nvSpPr>
          <p:cNvPr id="1563" name="Google Shape;1563;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4" name="Google Shape;1564;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244474"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5" name="Google Shape;1565;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6896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372" y="5810271"/>
            <a:ext cx="4675293" cy="1032933"/>
          </a:xfrm>
          <a:prstGeom prst="rect">
            <a:avLst/>
          </a:prstGeom>
        </p:spPr>
        <p:txBody>
          <a:bodyPr vert="horz" wrap="square" lIns="0" tIns="8467" rIns="0" bIns="0" rtlCol="0">
            <a:spAutoFit/>
          </a:bodyPr>
          <a:lstStyle/>
          <a:p>
            <a:pPr marL="8467">
              <a:lnSpc>
                <a:spcPct val="100000"/>
              </a:lnSpc>
              <a:spcBef>
                <a:spcPts val="67"/>
              </a:spcBef>
            </a:pPr>
            <a:r>
              <a:rPr sz="6667" b="1" spc="-93" dirty="0">
                <a:solidFill>
                  <a:srgbClr val="FFFFFF"/>
                </a:solidFill>
                <a:latin typeface="Trebuchet MS"/>
                <a:cs typeface="Trebuchet MS"/>
              </a:rPr>
              <a:t>THANK</a:t>
            </a:r>
            <a:r>
              <a:rPr sz="6667" b="1" spc="-403" dirty="0">
                <a:solidFill>
                  <a:srgbClr val="FFFFFF"/>
                </a:solidFill>
                <a:latin typeface="Trebuchet MS"/>
                <a:cs typeface="Trebuchet MS"/>
              </a:rPr>
              <a:t> </a:t>
            </a:r>
            <a:r>
              <a:rPr sz="6667" b="1" spc="169" dirty="0">
                <a:solidFill>
                  <a:srgbClr val="FFFFFF"/>
                </a:solidFill>
                <a:latin typeface="Trebuchet MS"/>
                <a:cs typeface="Trebuchet MS"/>
              </a:rPr>
              <a:t>YOU</a:t>
            </a:r>
            <a:endParaRPr sz="6667">
              <a:latin typeface="Trebuchet MS"/>
              <a:cs typeface="Trebuchet MS"/>
            </a:endParaRPr>
          </a:p>
        </p:txBody>
      </p:sp>
      <p:sp>
        <p:nvSpPr>
          <p:cNvPr id="3" name="object 3"/>
          <p:cNvSpPr txBox="1">
            <a:spLocks noGrp="1"/>
          </p:cNvSpPr>
          <p:nvPr>
            <p:ph type="ctrTitle"/>
          </p:nvPr>
        </p:nvSpPr>
        <p:spPr>
          <a:prstGeom prst="rect">
            <a:avLst/>
          </a:prstGeom>
        </p:spPr>
        <p:txBody>
          <a:bodyPr vert="horz" wrap="square" lIns="0" tIns="8467" rIns="0" bIns="0" rtlCol="0">
            <a:spAutoFit/>
          </a:bodyPr>
          <a:lstStyle/>
          <a:p>
            <a:pPr marL="8467">
              <a:lnSpc>
                <a:spcPct val="100000"/>
              </a:lnSpc>
              <a:spcBef>
                <a:spcPts val="67"/>
              </a:spcBef>
            </a:pPr>
            <a:r>
              <a:rPr sz="3467" spc="-90" dirty="0">
                <a:solidFill>
                  <a:srgbClr val="FFFFFF"/>
                </a:solidFill>
              </a:rPr>
              <a:t>“GET</a:t>
            </a:r>
            <a:r>
              <a:rPr sz="3467" spc="-173" dirty="0">
                <a:solidFill>
                  <a:srgbClr val="FFFFFF"/>
                </a:solidFill>
              </a:rPr>
              <a:t> </a:t>
            </a:r>
            <a:r>
              <a:rPr sz="3467" spc="93" dirty="0">
                <a:solidFill>
                  <a:srgbClr val="FFFFFF"/>
                </a:solidFill>
              </a:rPr>
              <a:t>YOU</a:t>
            </a:r>
            <a:r>
              <a:rPr sz="3467" spc="-173" dirty="0">
                <a:solidFill>
                  <a:srgbClr val="FFFFFF"/>
                </a:solidFill>
              </a:rPr>
              <a:t> </a:t>
            </a:r>
            <a:r>
              <a:rPr sz="3467" spc="173" dirty="0">
                <a:solidFill>
                  <a:srgbClr val="FFFFFF"/>
                </a:solidFill>
              </a:rPr>
              <a:t>A</a:t>
            </a:r>
            <a:r>
              <a:rPr sz="3467" spc="-173" dirty="0">
                <a:solidFill>
                  <a:srgbClr val="FFFFFF"/>
                </a:solidFill>
              </a:rPr>
              <a:t> </a:t>
            </a:r>
            <a:r>
              <a:rPr sz="3467" dirty="0">
                <a:solidFill>
                  <a:srgbClr val="FFFFFF"/>
                </a:solidFill>
              </a:rPr>
              <a:t>DOULA</a:t>
            </a:r>
            <a:r>
              <a:rPr sz="3467" spc="-169" dirty="0">
                <a:solidFill>
                  <a:srgbClr val="FFFFFF"/>
                </a:solidFill>
              </a:rPr>
              <a:t> </a:t>
            </a:r>
            <a:r>
              <a:rPr sz="3467" spc="107" dirty="0">
                <a:solidFill>
                  <a:srgbClr val="FFFFFF"/>
                </a:solidFill>
              </a:rPr>
              <a:t>SIS”</a:t>
            </a:r>
            <a:endParaRPr sz="3467"/>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442955"/>
            <a:ext cx="9841203" cy="2014679"/>
          </a:xfrm>
        </p:spPr>
        <p:txBody>
          <a:bodyPr/>
          <a:lstStyle/>
          <a:p>
            <a:r>
              <a:rPr lang="en-US" dirty="0">
                <a:ea typeface="Lato Medium"/>
                <a:cs typeface="Lato Medium"/>
              </a:rPr>
              <a:t>Damaris Montano, MPH, BSN, RN</a:t>
            </a:r>
            <a:endParaRPr lang="en-US" dirty="0"/>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449035"/>
            <a:ext cx="9365380" cy="986569"/>
          </a:xfrm>
        </p:spPr>
        <p:txBody>
          <a:bodyPr vert="horz" lIns="91440" tIns="45720" rIns="91440" bIns="45720" rtlCol="0" anchor="t">
            <a:noAutofit/>
          </a:bodyPr>
          <a:lstStyle/>
          <a:p>
            <a:pPr>
              <a:spcAft>
                <a:spcPts val="0"/>
              </a:spcAft>
            </a:pPr>
            <a:r>
              <a:rPr lang="en-US" dirty="0">
                <a:ea typeface="Lato"/>
                <a:cs typeface="Lato"/>
              </a:rPr>
              <a:t>Program Coordinator, Maternal Child Health</a:t>
            </a:r>
          </a:p>
          <a:p>
            <a:pPr>
              <a:spcAft>
                <a:spcPts val="0"/>
              </a:spcAft>
            </a:pPr>
            <a:r>
              <a:rPr lang="en-US" dirty="0">
                <a:ea typeface="Lato"/>
                <a:cs typeface="Lato"/>
              </a:rPr>
              <a:t>Lake County Health Department and Community Health Center</a:t>
            </a:r>
            <a:endParaRPr lang="en-US" dirty="0"/>
          </a:p>
        </p:txBody>
      </p:sp>
    </p:spTree>
    <p:extLst>
      <p:ext uri="{BB962C8B-B14F-4D97-AF65-F5344CB8AC3E}">
        <p14:creationId xmlns:p14="http://schemas.microsoft.com/office/powerpoint/2010/main" val="3576339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2E3863-607E-4FC1-9819-BD555D9C8CCD}"/>
              </a:ext>
            </a:extLst>
          </p:cNvPr>
          <p:cNvSpPr>
            <a:spLocks noGrp="1"/>
          </p:cNvSpPr>
          <p:nvPr>
            <p:ph type="title"/>
          </p:nvPr>
        </p:nvSpPr>
        <p:spPr/>
        <p:txBody>
          <a:bodyPr/>
          <a:lstStyle/>
          <a:p>
            <a:r>
              <a:rPr lang="en-US" b="0" dirty="0"/>
              <a:t>Family Case Management</a:t>
            </a:r>
            <a:br>
              <a:rPr lang="en-US" b="0" dirty="0"/>
            </a:br>
            <a:endParaRPr lang="en-US" b="0" dirty="0"/>
          </a:p>
        </p:txBody>
      </p:sp>
      <p:sp>
        <p:nvSpPr>
          <p:cNvPr id="13" name="Text Placeholder 12">
            <a:extLst>
              <a:ext uri="{FF2B5EF4-FFF2-40B4-BE49-F238E27FC236}">
                <a16:creationId xmlns:a16="http://schemas.microsoft.com/office/drawing/2014/main" id="{154AA483-AB13-43AC-935B-26AE50A2D7AD}"/>
              </a:ext>
            </a:extLst>
          </p:cNvPr>
          <p:cNvSpPr>
            <a:spLocks noGrp="1"/>
          </p:cNvSpPr>
          <p:nvPr>
            <p:ph type="body" sz="quarter" idx="11"/>
          </p:nvPr>
        </p:nvSpPr>
        <p:spPr>
          <a:xfrm>
            <a:off x="4886899" y="4501842"/>
            <a:ext cx="2519363" cy="532275"/>
          </a:xfrm>
        </p:spPr>
        <p:txBody>
          <a:bodyPr/>
          <a:lstStyle/>
          <a:p>
            <a:r>
              <a:rPr lang="en-US" dirty="0"/>
              <a:t>Damaris Montano, MPH, BSN, RN</a:t>
            </a:r>
          </a:p>
          <a:p>
            <a:r>
              <a:rPr lang="en-US" dirty="0"/>
              <a:t>Program Coordinator – Maternal Child Health Services</a:t>
            </a:r>
          </a:p>
        </p:txBody>
      </p:sp>
    </p:spTree>
    <p:extLst>
      <p:ext uri="{BB962C8B-B14F-4D97-AF65-F5344CB8AC3E}">
        <p14:creationId xmlns:p14="http://schemas.microsoft.com/office/powerpoint/2010/main" val="38000865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5AD9B11C-3290-416E-82C7-AE294377699E}"/>
              </a:ext>
            </a:extLst>
          </p:cNvPr>
          <p:cNvSpPr>
            <a:spLocks noGrp="1"/>
          </p:cNvSpPr>
          <p:nvPr>
            <p:ph idx="1"/>
          </p:nvPr>
        </p:nvSpPr>
        <p:spPr/>
        <p:txBody>
          <a:bodyPr>
            <a:normAutofit/>
          </a:bodyPr>
          <a:lstStyle/>
          <a:p>
            <a:pPr marL="0" indent="0">
              <a:buNone/>
            </a:pPr>
            <a:endParaRPr lang="en-US" sz="3200" dirty="0">
              <a:latin typeface="Arial" panose="020B0604020202020204" pitchFamily="34" charset="0"/>
              <a:cs typeface="Arial" panose="020B0604020202020204" pitchFamily="34" charset="0"/>
            </a:endParaRPr>
          </a:p>
          <a:p>
            <a:pPr marL="0" indent="0">
              <a:buNone/>
            </a:pPr>
            <a:r>
              <a:rPr lang="en-US" sz="3200" dirty="0">
                <a:latin typeface="Arial" panose="020B0604020202020204" pitchFamily="34" charset="0"/>
                <a:cs typeface="Arial" panose="020B0604020202020204" pitchFamily="34" charset="0"/>
              </a:rPr>
              <a:t>Statewide program for low-income families with pregnant persons and infants up to one year of age.</a:t>
            </a:r>
          </a:p>
        </p:txBody>
      </p:sp>
      <p:sp>
        <p:nvSpPr>
          <p:cNvPr id="15" name="Title 14">
            <a:extLst>
              <a:ext uri="{FF2B5EF4-FFF2-40B4-BE49-F238E27FC236}">
                <a16:creationId xmlns:a16="http://schemas.microsoft.com/office/drawing/2014/main" id="{0AA18411-AF96-434E-9A24-95BF038A9216}"/>
              </a:ext>
            </a:extLst>
          </p:cNvPr>
          <p:cNvSpPr>
            <a:spLocks noGrp="1"/>
          </p:cNvSpPr>
          <p:nvPr>
            <p:ph type="title"/>
          </p:nvPr>
        </p:nvSpPr>
        <p:spPr/>
        <p:txBody>
          <a:bodyPr/>
          <a:lstStyle/>
          <a:p>
            <a:r>
              <a:rPr lang="en-US" dirty="0"/>
              <a:t>Family Case Management</a:t>
            </a:r>
          </a:p>
        </p:txBody>
      </p:sp>
    </p:spTree>
    <p:extLst>
      <p:ext uri="{BB962C8B-B14F-4D97-AF65-F5344CB8AC3E}">
        <p14:creationId xmlns:p14="http://schemas.microsoft.com/office/powerpoint/2010/main" val="21766388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BA024F4-0354-E6AA-3635-1C7135BE98CE}"/>
              </a:ext>
            </a:extLst>
          </p:cNvPr>
          <p:cNvSpPr>
            <a:spLocks noGrp="1"/>
          </p:cNvSpPr>
          <p:nvPr>
            <p:ph idx="1"/>
          </p:nvPr>
        </p:nvSpPr>
        <p:spPr>
          <a:xfrm>
            <a:off x="2152650" y="1825625"/>
            <a:ext cx="3848100" cy="4077634"/>
          </a:xfrm>
        </p:spPr>
        <p:txBody>
          <a:bodyPr>
            <a:normAutofit/>
          </a:bodyPr>
          <a:lstStyle/>
          <a:p>
            <a:r>
              <a:rPr lang="en-US" dirty="0"/>
              <a:t>To Provide Comprehensive Service Coordination</a:t>
            </a:r>
          </a:p>
          <a:p>
            <a:r>
              <a:rPr lang="en-US" dirty="0"/>
              <a:t>To Improve</a:t>
            </a:r>
          </a:p>
          <a:p>
            <a:pPr lvl="1"/>
            <a:r>
              <a:rPr lang="en-US" sz="2100" dirty="0"/>
              <a:t>Health</a:t>
            </a:r>
          </a:p>
          <a:p>
            <a:pPr lvl="1"/>
            <a:r>
              <a:rPr lang="en-US" sz="2100" dirty="0"/>
              <a:t>Social Needs</a:t>
            </a:r>
          </a:p>
          <a:p>
            <a:pPr lvl="1"/>
            <a:r>
              <a:rPr lang="en-US" sz="2100" dirty="0"/>
              <a:t>Educational Needs</a:t>
            </a:r>
          </a:p>
          <a:p>
            <a:pPr lvl="1"/>
            <a:r>
              <a:rPr lang="en-US" sz="2100" dirty="0"/>
              <a:t>Developmental Needs </a:t>
            </a:r>
          </a:p>
          <a:p>
            <a:pPr lvl="1"/>
            <a:endParaRPr lang="en-US" sz="2100" dirty="0"/>
          </a:p>
        </p:txBody>
      </p:sp>
      <p:sp>
        <p:nvSpPr>
          <p:cNvPr id="6" name="Title 5">
            <a:extLst>
              <a:ext uri="{FF2B5EF4-FFF2-40B4-BE49-F238E27FC236}">
                <a16:creationId xmlns:a16="http://schemas.microsoft.com/office/drawing/2014/main" id="{05D83860-5A3B-6912-60F7-563F00C892CB}"/>
              </a:ext>
            </a:extLst>
          </p:cNvPr>
          <p:cNvSpPr>
            <a:spLocks noGrp="1"/>
          </p:cNvSpPr>
          <p:nvPr>
            <p:ph type="title"/>
          </p:nvPr>
        </p:nvSpPr>
        <p:spPr>
          <a:xfrm>
            <a:off x="2251587" y="294969"/>
            <a:ext cx="7787763" cy="978006"/>
          </a:xfrm>
        </p:spPr>
        <p:txBody>
          <a:bodyPr anchor="ctr">
            <a:normAutofit/>
          </a:bodyPr>
          <a:lstStyle/>
          <a:p>
            <a:r>
              <a:rPr lang="en-US" dirty="0"/>
              <a:t>Purpose</a:t>
            </a:r>
          </a:p>
        </p:txBody>
      </p:sp>
    </p:spTree>
    <p:extLst>
      <p:ext uri="{BB962C8B-B14F-4D97-AF65-F5344CB8AC3E}">
        <p14:creationId xmlns:p14="http://schemas.microsoft.com/office/powerpoint/2010/main" val="2440003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3DA8E-7DA7-33C5-C46F-6D2D3006F5FF}"/>
              </a:ext>
            </a:extLst>
          </p:cNvPr>
          <p:cNvSpPr>
            <a:spLocks noGrp="1"/>
          </p:cNvSpPr>
          <p:nvPr>
            <p:ph type="title"/>
          </p:nvPr>
        </p:nvSpPr>
        <p:spPr/>
        <p:txBody>
          <a:bodyPr/>
          <a:lstStyle/>
          <a:p>
            <a:r>
              <a:rPr lang="en-US" dirty="0"/>
              <a:t>Assessments	</a:t>
            </a:r>
          </a:p>
        </p:txBody>
      </p:sp>
      <p:sp>
        <p:nvSpPr>
          <p:cNvPr id="3" name="Subtitle 2">
            <a:extLst>
              <a:ext uri="{FF2B5EF4-FFF2-40B4-BE49-F238E27FC236}">
                <a16:creationId xmlns:a16="http://schemas.microsoft.com/office/drawing/2014/main" id="{8530F8AB-616F-394E-C30F-8731E364A761}"/>
              </a:ext>
            </a:extLst>
          </p:cNvPr>
          <p:cNvSpPr>
            <a:spLocks noGrp="1"/>
          </p:cNvSpPr>
          <p:nvPr>
            <p:ph type="subTitle" idx="1"/>
          </p:nvPr>
        </p:nvSpPr>
        <p:spPr>
          <a:xfrm>
            <a:off x="2509684" y="1828800"/>
            <a:ext cx="6858000" cy="4100052"/>
          </a:xfrm>
        </p:spPr>
        <p:txBody>
          <a:bodyPr>
            <a:normAutofit/>
          </a:bodyPr>
          <a:lstStyle/>
          <a:p>
            <a:pPr marL="457200" indent="-457200" algn="l">
              <a:buFont typeface="Wingdings" panose="05000000000000000000" pitchFamily="2" charset="2"/>
              <a:buChar char="Ø"/>
            </a:pPr>
            <a:r>
              <a:rPr lang="en-US" sz="3200" dirty="0">
                <a:latin typeface="Arial" panose="020B0604020202020204" pitchFamily="34" charset="0"/>
                <a:cs typeface="Arial" panose="020B0604020202020204" pitchFamily="34" charset="0"/>
              </a:rPr>
              <a:t>Home Assessment</a:t>
            </a:r>
          </a:p>
          <a:p>
            <a:pPr algn="l"/>
            <a:endParaRPr lang="en-US" sz="3200" dirty="0">
              <a:latin typeface="Arial" panose="020B0604020202020204" pitchFamily="34" charset="0"/>
              <a:cs typeface="Arial" panose="020B0604020202020204" pitchFamily="34" charset="0"/>
            </a:endParaRPr>
          </a:p>
          <a:p>
            <a:pPr marL="457200" indent="-457200" algn="l">
              <a:buFont typeface="Wingdings" panose="05000000000000000000" pitchFamily="2" charset="2"/>
              <a:buChar char="Ø"/>
            </a:pPr>
            <a:r>
              <a:rPr lang="en-US" sz="3200" dirty="0">
                <a:latin typeface="Arial" panose="020B0604020202020204" pitchFamily="34" charset="0"/>
                <a:cs typeface="Arial" panose="020B0604020202020204" pitchFamily="34" charset="0"/>
              </a:rPr>
              <a:t>Barriers to Services Assessment</a:t>
            </a:r>
          </a:p>
          <a:p>
            <a:pPr algn="l"/>
            <a:endParaRPr lang="en-US" sz="3200" dirty="0">
              <a:latin typeface="Arial" panose="020B0604020202020204" pitchFamily="34" charset="0"/>
              <a:cs typeface="Arial" panose="020B0604020202020204" pitchFamily="34" charset="0"/>
            </a:endParaRPr>
          </a:p>
          <a:p>
            <a:pPr marL="457200" indent="-457200" algn="l">
              <a:buFont typeface="Wingdings" panose="05000000000000000000" pitchFamily="2" charset="2"/>
              <a:buChar char="Ø"/>
            </a:pPr>
            <a:r>
              <a:rPr lang="en-US" sz="3200" dirty="0">
                <a:latin typeface="Arial" panose="020B0604020202020204" pitchFamily="34" charset="0"/>
                <a:cs typeface="Arial" panose="020B0604020202020204" pitchFamily="34" charset="0"/>
              </a:rPr>
              <a:t>Risk Assessment</a:t>
            </a:r>
          </a:p>
        </p:txBody>
      </p:sp>
    </p:spTree>
    <p:extLst>
      <p:ext uri="{BB962C8B-B14F-4D97-AF65-F5344CB8AC3E}">
        <p14:creationId xmlns:p14="http://schemas.microsoft.com/office/powerpoint/2010/main" val="3467655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58F66-8F03-6953-9897-4D583E4B16A2}"/>
              </a:ext>
            </a:extLst>
          </p:cNvPr>
          <p:cNvSpPr>
            <a:spLocks noGrp="1"/>
          </p:cNvSpPr>
          <p:nvPr>
            <p:ph type="title"/>
          </p:nvPr>
        </p:nvSpPr>
        <p:spPr/>
        <p:txBody>
          <a:bodyPr>
            <a:normAutofit/>
          </a:bodyPr>
          <a:lstStyle/>
          <a:p>
            <a:r>
              <a:rPr lang="en-US" sz="3600" dirty="0">
                <a:solidFill>
                  <a:schemeClr val="accent1"/>
                </a:solidFill>
                <a:latin typeface="+mj-lt"/>
                <a:ea typeface="Lato Medium" panose="020F0502020204030203" pitchFamily="34" charset="0"/>
                <a:cs typeface="Lato Medium" panose="020F0502020204030203" pitchFamily="34" charset="0"/>
              </a:rPr>
              <a:t>Barriers to Services</a:t>
            </a:r>
          </a:p>
        </p:txBody>
      </p:sp>
      <p:sp>
        <p:nvSpPr>
          <p:cNvPr id="3" name="Subtitle 2">
            <a:extLst>
              <a:ext uri="{FF2B5EF4-FFF2-40B4-BE49-F238E27FC236}">
                <a16:creationId xmlns:a16="http://schemas.microsoft.com/office/drawing/2014/main" id="{52E517F8-598C-2C23-C311-1B871EF0F26F}"/>
              </a:ext>
            </a:extLst>
          </p:cNvPr>
          <p:cNvSpPr>
            <a:spLocks noGrp="1"/>
          </p:cNvSpPr>
          <p:nvPr>
            <p:ph type="subTitle" idx="1"/>
          </p:nvPr>
        </p:nvSpPr>
        <p:spPr>
          <a:xfrm>
            <a:off x="2667000" y="1406014"/>
            <a:ext cx="6858000" cy="4050889"/>
          </a:xfrm>
        </p:spPr>
        <p:txBody>
          <a:bodyPr vert="horz" lIns="91440" tIns="45720" rIns="91440" bIns="45720" rtlCol="0" anchor="t">
            <a:normAutofit/>
          </a:bodyPr>
          <a:lstStyle/>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Child-care</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Work or School Schedule</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Distance/Transportation</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Language</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Folk/Cultural Practices</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Providers’ Attitudes</a:t>
            </a:r>
          </a:p>
          <a:p>
            <a:pPr marL="457200" indent="-457200" algn="l" defTabSz="914400">
              <a:lnSpc>
                <a:spcPct val="80000"/>
              </a:lnSpc>
              <a:spcBef>
                <a:spcPts val="1000"/>
              </a:spcBef>
              <a:spcAft>
                <a:spcPts val="1000"/>
              </a:spcAft>
              <a:buClr>
                <a:schemeClr val="accent2"/>
              </a:buClr>
              <a:buFont typeface="Wingdings" panose="05000000000000000000" pitchFamily="2" charset="2"/>
              <a:buChar char="Ø"/>
            </a:pPr>
            <a:r>
              <a:rPr lang="en-US" sz="2500" dirty="0">
                <a:solidFill>
                  <a:schemeClr val="accent1"/>
                </a:solidFill>
                <a:latin typeface="Arial" panose="020B0604020202020204" pitchFamily="34" charset="0"/>
                <a:ea typeface="Lato" panose="020F0502020204030203" pitchFamily="34" charset="0"/>
                <a:cs typeface="Arial" panose="020B0604020202020204" pitchFamily="34" charset="0"/>
              </a:rPr>
              <a:t>Cost/Insurance</a:t>
            </a:r>
          </a:p>
        </p:txBody>
      </p:sp>
    </p:spTree>
    <p:extLst>
      <p:ext uri="{BB962C8B-B14F-4D97-AF65-F5344CB8AC3E}">
        <p14:creationId xmlns:p14="http://schemas.microsoft.com/office/powerpoint/2010/main" val="22650826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01D33-0981-1463-84F9-BDE7119EDF00}"/>
              </a:ext>
            </a:extLst>
          </p:cNvPr>
          <p:cNvSpPr>
            <a:spLocks noGrp="1"/>
          </p:cNvSpPr>
          <p:nvPr>
            <p:ph type="title"/>
          </p:nvPr>
        </p:nvSpPr>
        <p:spPr/>
        <p:txBody>
          <a:bodyPr/>
          <a:lstStyle/>
          <a:p>
            <a:r>
              <a:rPr lang="en-US" dirty="0">
                <a:solidFill>
                  <a:schemeClr val="accent1"/>
                </a:solidFill>
              </a:rPr>
              <a:t>Interventions</a:t>
            </a:r>
          </a:p>
        </p:txBody>
      </p:sp>
      <p:sp>
        <p:nvSpPr>
          <p:cNvPr id="3" name="Subtitle 2">
            <a:extLst>
              <a:ext uri="{FF2B5EF4-FFF2-40B4-BE49-F238E27FC236}">
                <a16:creationId xmlns:a16="http://schemas.microsoft.com/office/drawing/2014/main" id="{A8493D07-0964-636B-E648-1FC842197D9E}"/>
              </a:ext>
            </a:extLst>
          </p:cNvPr>
          <p:cNvSpPr>
            <a:spLocks noGrp="1"/>
          </p:cNvSpPr>
          <p:nvPr>
            <p:ph type="subTitle" idx="1"/>
          </p:nvPr>
        </p:nvSpPr>
        <p:spPr>
          <a:xfrm>
            <a:off x="2667000" y="1258460"/>
            <a:ext cx="6858000" cy="4454082"/>
          </a:xfrm>
        </p:spPr>
        <p:txBody>
          <a:bodyPr>
            <a:normAutofit fontScale="77500" lnSpcReduction="20000"/>
          </a:bodyPr>
          <a:lstStyle/>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Screenings</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Assessments and Interpretation</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Education</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Referrals</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Advocacy</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Support</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Culturally Relevant</a:t>
            </a:r>
          </a:p>
          <a:p>
            <a:pPr marL="457200" indent="-457200" algn="l">
              <a:buFont typeface="Wingdings" panose="05000000000000000000" pitchFamily="2" charset="2"/>
              <a:buChar char="Ø"/>
            </a:pPr>
            <a:r>
              <a:rPr lang="en-US" sz="3200" dirty="0">
                <a:solidFill>
                  <a:schemeClr val="accent1"/>
                </a:solidFill>
                <a:latin typeface="Arial" panose="020B0604020202020204" pitchFamily="34" charset="0"/>
                <a:cs typeface="Arial" panose="020B0604020202020204" pitchFamily="34" charset="0"/>
              </a:rPr>
              <a:t>Care Coordination</a:t>
            </a:r>
          </a:p>
        </p:txBody>
      </p:sp>
    </p:spTree>
    <p:extLst>
      <p:ext uri="{BB962C8B-B14F-4D97-AF65-F5344CB8AC3E}">
        <p14:creationId xmlns:p14="http://schemas.microsoft.com/office/powerpoint/2010/main" val="396375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5D70534-E7A5-2BFA-2A86-B652F4C02AEA}"/>
              </a:ext>
            </a:extLst>
          </p:cNvPr>
          <p:cNvSpPr>
            <a:spLocks noGrp="1"/>
          </p:cNvSpPr>
          <p:nvPr>
            <p:ph idx="1"/>
          </p:nvPr>
        </p:nvSpPr>
        <p:spPr>
          <a:xfrm>
            <a:off x="2152650" y="1390183"/>
            <a:ext cx="7886700" cy="4077634"/>
          </a:xfrm>
        </p:spPr>
        <p:txBody>
          <a:bodyPr vert="horz" lIns="91440" tIns="45720" rIns="91440" bIns="45720" rtlCol="0" anchor="t">
            <a:normAutofit/>
          </a:bodyPr>
          <a:lstStyle/>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Nutrition</a:t>
            </a:r>
            <a:endParaRPr lang="en-US"/>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S/S of Complications</a:t>
            </a:r>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S/S of Labor</a:t>
            </a:r>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Making a Labor Plan</a:t>
            </a:r>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Getting Ready for Baby</a:t>
            </a:r>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Breastfeeding</a:t>
            </a:r>
          </a:p>
          <a:p>
            <a:pPr marL="457200" indent="-457200">
              <a:lnSpc>
                <a:spcPct val="90000"/>
              </a:lnSpc>
              <a:spcAft>
                <a:spcPts val="1000"/>
              </a:spcAft>
              <a:buFont typeface="Wingdings" panose="05000000000000000000" pitchFamily="2" charset="2"/>
              <a:buChar char="Ø"/>
            </a:pPr>
            <a:r>
              <a:rPr lang="en-US" sz="2500" dirty="0">
                <a:solidFill>
                  <a:schemeClr val="accent1"/>
                </a:solidFill>
                <a:latin typeface="Arial" panose="020B0604020202020204" pitchFamily="34" charset="0"/>
                <a:cs typeface="Arial" panose="020B0604020202020204" pitchFamily="34" charset="0"/>
              </a:rPr>
              <a:t>Relaxation Techniques</a:t>
            </a:r>
          </a:p>
        </p:txBody>
      </p:sp>
      <p:sp>
        <p:nvSpPr>
          <p:cNvPr id="3" name="Title 2">
            <a:extLst>
              <a:ext uri="{FF2B5EF4-FFF2-40B4-BE49-F238E27FC236}">
                <a16:creationId xmlns:a16="http://schemas.microsoft.com/office/drawing/2014/main" id="{9B23EB4A-A3AC-C03F-12D9-DF0D9AEE0DFA}"/>
              </a:ext>
            </a:extLst>
          </p:cNvPr>
          <p:cNvSpPr>
            <a:spLocks noGrp="1"/>
          </p:cNvSpPr>
          <p:nvPr>
            <p:ph type="title"/>
          </p:nvPr>
        </p:nvSpPr>
        <p:spPr/>
        <p:txBody>
          <a:bodyPr/>
          <a:lstStyle/>
          <a:p>
            <a:pPr algn="ctr"/>
            <a:r>
              <a:rPr lang="en-US" dirty="0">
                <a:ea typeface="Lato Medium"/>
                <a:cs typeface="Lato Medium"/>
              </a:rPr>
              <a:t>Education</a:t>
            </a:r>
            <a:endParaRPr lang="en-US"/>
          </a:p>
        </p:txBody>
      </p:sp>
    </p:spTree>
    <p:extLst>
      <p:ext uri="{BB962C8B-B14F-4D97-AF65-F5344CB8AC3E}">
        <p14:creationId xmlns:p14="http://schemas.microsoft.com/office/powerpoint/2010/main" val="2811610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0A0DD-C18C-DC70-94F3-C2530A7AB1A8}"/>
              </a:ext>
            </a:extLst>
          </p:cNvPr>
          <p:cNvSpPr>
            <a:spLocks noGrp="1"/>
          </p:cNvSpPr>
          <p:nvPr>
            <p:ph type="title"/>
          </p:nvPr>
        </p:nvSpPr>
        <p:spPr/>
        <p:txBody>
          <a:bodyPr/>
          <a:lstStyle/>
          <a:p>
            <a:r>
              <a:rPr lang="en-US" dirty="0">
                <a:ea typeface="Lato Medium"/>
                <a:cs typeface="Lato Medium"/>
              </a:rPr>
              <a:t>Referrals</a:t>
            </a:r>
          </a:p>
        </p:txBody>
      </p:sp>
      <p:sp>
        <p:nvSpPr>
          <p:cNvPr id="3" name="Subtitle 2">
            <a:extLst>
              <a:ext uri="{FF2B5EF4-FFF2-40B4-BE49-F238E27FC236}">
                <a16:creationId xmlns:a16="http://schemas.microsoft.com/office/drawing/2014/main" id="{EF3832AE-B88C-09C0-1A45-6279CE3106BE}"/>
              </a:ext>
            </a:extLst>
          </p:cNvPr>
          <p:cNvSpPr>
            <a:spLocks noGrp="1"/>
          </p:cNvSpPr>
          <p:nvPr>
            <p:ph type="subTitle" idx="1"/>
          </p:nvPr>
        </p:nvSpPr>
        <p:spPr>
          <a:xfrm>
            <a:off x="1948132" y="1266785"/>
            <a:ext cx="4155057" cy="4572000"/>
          </a:xfrm>
        </p:spPr>
        <p:txBody>
          <a:bodyPr vert="horz" lIns="91440" tIns="45720" rIns="91440" bIns="45720" rtlCol="0" anchor="t">
            <a:noAutofit/>
          </a:bodyPr>
          <a:lstStyle/>
          <a:p>
            <a:pPr marL="457200" indent="-457200" algn="l">
              <a:lnSpc>
                <a:spcPct val="110000"/>
              </a:lnSpc>
              <a:buFont typeface="Wingdings" panose="05000000000000000000" pitchFamily="2" charset="2"/>
              <a:buChar char="Ø"/>
            </a:pPr>
            <a:r>
              <a:rPr lang="en-US" sz="2400" dirty="0">
                <a:solidFill>
                  <a:schemeClr val="accent1"/>
                </a:solidFill>
                <a:latin typeface="Arial"/>
                <a:ea typeface="Lato"/>
                <a:cs typeface="Arial"/>
              </a:rPr>
              <a:t>Doctor</a:t>
            </a:r>
          </a:p>
          <a:p>
            <a:pPr marL="457200" indent="-457200" algn="l">
              <a:lnSpc>
                <a:spcPct val="110000"/>
              </a:lnSpc>
              <a:buFont typeface="Wingdings" panose="05000000000000000000" pitchFamily="2" charset="2"/>
              <a:buChar char="Ø"/>
            </a:pPr>
            <a:r>
              <a:rPr lang="en-US" sz="2400" dirty="0">
                <a:solidFill>
                  <a:schemeClr val="accent1"/>
                </a:solidFill>
                <a:latin typeface="Arial"/>
                <a:ea typeface="Lato"/>
                <a:cs typeface="Arial"/>
              </a:rPr>
              <a:t>Insurance</a:t>
            </a:r>
          </a:p>
          <a:p>
            <a:pPr marL="457200" indent="-457200" algn="l">
              <a:lnSpc>
                <a:spcPct val="110000"/>
              </a:lnSpc>
              <a:buFont typeface="Wingdings" panose="05000000000000000000" pitchFamily="2" charset="2"/>
              <a:buChar char="Ø"/>
            </a:pPr>
            <a:r>
              <a:rPr lang="en-US" sz="2400" dirty="0">
                <a:solidFill>
                  <a:schemeClr val="accent1"/>
                </a:solidFill>
                <a:latin typeface="Arial"/>
                <a:ea typeface="Lato"/>
                <a:cs typeface="Arial"/>
              </a:rPr>
              <a:t>Transportation</a:t>
            </a:r>
          </a:p>
          <a:p>
            <a:pPr marL="457200" indent="-457200" algn="l">
              <a:lnSpc>
                <a:spcPct val="110000"/>
              </a:lnSpc>
              <a:buFont typeface="Wingdings" panose="05000000000000000000" pitchFamily="2" charset="2"/>
              <a:buChar char="Ø"/>
            </a:pPr>
            <a:r>
              <a:rPr lang="en-US" sz="2400" dirty="0">
                <a:solidFill>
                  <a:schemeClr val="accent1"/>
                </a:solidFill>
                <a:latin typeface="Arial"/>
                <a:ea typeface="Lato"/>
                <a:cs typeface="Arial"/>
              </a:rPr>
              <a:t>Day Care</a:t>
            </a:r>
          </a:p>
          <a:p>
            <a:pPr marL="457200" indent="-457200" algn="l">
              <a:lnSpc>
                <a:spcPct val="110000"/>
              </a:lnSpc>
              <a:buFont typeface="Wingdings" panose="05000000000000000000" pitchFamily="2" charset="2"/>
              <a:buChar char="Ø"/>
            </a:pPr>
            <a:r>
              <a:rPr lang="en-US" sz="2400" dirty="0">
                <a:solidFill>
                  <a:schemeClr val="accent1"/>
                </a:solidFill>
                <a:latin typeface="Arial"/>
                <a:ea typeface="Lato"/>
                <a:cs typeface="Arial"/>
              </a:rPr>
              <a:t>Food Pantries</a:t>
            </a:r>
          </a:p>
          <a:p>
            <a:pPr algn="l">
              <a:lnSpc>
                <a:spcPct val="110000"/>
              </a:lnSpc>
            </a:pPr>
            <a:endParaRPr lang="en-US" sz="2400" dirty="0">
              <a:solidFill>
                <a:schemeClr val="accent1"/>
              </a:solidFill>
              <a:latin typeface="Arial"/>
              <a:ea typeface="Lato"/>
              <a:cs typeface="Arial"/>
            </a:endParaRPr>
          </a:p>
          <a:p>
            <a:pPr algn="l">
              <a:lnSpc>
                <a:spcPct val="110000"/>
              </a:lnSpc>
            </a:pPr>
            <a:endParaRPr lang="en-US" sz="2400" dirty="0">
              <a:solidFill>
                <a:schemeClr val="accent1"/>
              </a:solidFill>
              <a:latin typeface="Arial"/>
              <a:ea typeface="Lato"/>
              <a:cs typeface="Arial"/>
            </a:endParaRPr>
          </a:p>
        </p:txBody>
      </p:sp>
      <p:sp>
        <p:nvSpPr>
          <p:cNvPr id="4" name="TextBox 3">
            <a:extLst>
              <a:ext uri="{FF2B5EF4-FFF2-40B4-BE49-F238E27FC236}">
                <a16:creationId xmlns:a16="http://schemas.microsoft.com/office/drawing/2014/main" id="{693AD0ED-CC93-529D-53AC-E8E2A3817B5D}"/>
              </a:ext>
            </a:extLst>
          </p:cNvPr>
          <p:cNvSpPr txBox="1"/>
          <p:nvPr/>
        </p:nvSpPr>
        <p:spPr>
          <a:xfrm>
            <a:off x="6507192" y="1273834"/>
            <a:ext cx="4871048" cy="37807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lnSpc>
                <a:spcPct val="110000"/>
              </a:lnSpc>
              <a:spcBef>
                <a:spcPts val="1000"/>
              </a:spcBef>
              <a:spcAft>
                <a:spcPts val="1000"/>
              </a:spcAft>
              <a:buClr>
                <a:schemeClr val="accent2"/>
              </a:buClr>
              <a:buFont typeface="Wingdings" panose="05000000000000000000" pitchFamily="2" charset="2"/>
              <a:buChar char="Ø"/>
            </a:pPr>
            <a:r>
              <a:rPr lang="en-US" sz="2400" dirty="0">
                <a:solidFill>
                  <a:schemeClr val="accent1"/>
                </a:solidFill>
                <a:latin typeface="Arial"/>
                <a:ea typeface="Lato"/>
                <a:cs typeface="Arial"/>
              </a:rPr>
              <a:t>Housing</a:t>
            </a:r>
          </a:p>
          <a:p>
            <a:pPr marL="457200" indent="-457200">
              <a:lnSpc>
                <a:spcPct val="110000"/>
              </a:lnSpc>
              <a:spcBef>
                <a:spcPts val="1000"/>
              </a:spcBef>
              <a:spcAft>
                <a:spcPts val="1000"/>
              </a:spcAft>
              <a:buClr>
                <a:schemeClr val="accent2"/>
              </a:buClr>
              <a:buFont typeface="Wingdings" panose="05000000000000000000" pitchFamily="2" charset="2"/>
              <a:buChar char="Ø"/>
            </a:pPr>
            <a:r>
              <a:rPr lang="en-US" sz="2400" dirty="0">
                <a:solidFill>
                  <a:schemeClr val="accent1"/>
                </a:solidFill>
                <a:latin typeface="Arial"/>
                <a:ea typeface="Lato"/>
                <a:cs typeface="Arial"/>
              </a:rPr>
              <a:t>Mental Health Care</a:t>
            </a:r>
          </a:p>
          <a:p>
            <a:pPr marL="457200" indent="-457200">
              <a:lnSpc>
                <a:spcPct val="110000"/>
              </a:lnSpc>
              <a:spcBef>
                <a:spcPts val="1000"/>
              </a:spcBef>
              <a:spcAft>
                <a:spcPts val="1000"/>
              </a:spcAft>
              <a:buClr>
                <a:schemeClr val="accent2"/>
              </a:buClr>
              <a:buFont typeface="Wingdings" panose="05000000000000000000" pitchFamily="2" charset="2"/>
              <a:buChar char="Ø"/>
            </a:pPr>
            <a:r>
              <a:rPr lang="en-US" sz="2400" dirty="0">
                <a:solidFill>
                  <a:schemeClr val="accent1"/>
                </a:solidFill>
                <a:latin typeface="Arial"/>
                <a:ea typeface="Lato"/>
                <a:cs typeface="Arial"/>
              </a:rPr>
              <a:t>GED</a:t>
            </a:r>
          </a:p>
          <a:p>
            <a:pPr marL="457200" indent="-457200">
              <a:lnSpc>
                <a:spcPct val="110000"/>
              </a:lnSpc>
              <a:spcBef>
                <a:spcPts val="1000"/>
              </a:spcBef>
              <a:spcAft>
                <a:spcPts val="1000"/>
              </a:spcAft>
              <a:buClr>
                <a:schemeClr val="accent2"/>
              </a:buClr>
              <a:buFont typeface="Wingdings" panose="05000000000000000000" pitchFamily="2" charset="2"/>
              <a:buChar char="Ø"/>
            </a:pPr>
            <a:r>
              <a:rPr lang="en-US" sz="2400" dirty="0">
                <a:solidFill>
                  <a:schemeClr val="accent1"/>
                </a:solidFill>
                <a:latin typeface="Arial"/>
                <a:ea typeface="Lato"/>
                <a:cs typeface="Arial"/>
              </a:rPr>
              <a:t>ESL</a:t>
            </a:r>
          </a:p>
          <a:p>
            <a:pPr marL="457200" indent="-457200">
              <a:lnSpc>
                <a:spcPct val="110000"/>
              </a:lnSpc>
              <a:spcBef>
                <a:spcPts val="1000"/>
              </a:spcBef>
              <a:spcAft>
                <a:spcPts val="1000"/>
              </a:spcAft>
              <a:buClr>
                <a:schemeClr val="accent2"/>
              </a:buClr>
              <a:buFont typeface="Wingdings" panose="05000000000000000000" pitchFamily="2" charset="2"/>
              <a:buChar char="Ø"/>
            </a:pPr>
            <a:r>
              <a:rPr lang="en-US" sz="2400" dirty="0">
                <a:solidFill>
                  <a:schemeClr val="accent1"/>
                </a:solidFill>
                <a:latin typeface="Arial"/>
                <a:ea typeface="Lato"/>
                <a:cs typeface="Arial"/>
              </a:rPr>
              <a:t>Referrals for Family Members </a:t>
            </a:r>
          </a:p>
          <a:p>
            <a:pPr marL="457200" indent="-457200">
              <a:lnSpc>
                <a:spcPct val="110000"/>
              </a:lnSpc>
              <a:spcBef>
                <a:spcPts val="1000"/>
              </a:spcBef>
              <a:spcAft>
                <a:spcPts val="1000"/>
              </a:spcAft>
              <a:buClr>
                <a:schemeClr val="accent2"/>
              </a:buClr>
              <a:buFont typeface="Wingdings" panose="05000000000000000000" pitchFamily="2" charset="2"/>
              <a:buChar char="Ø"/>
            </a:pPr>
            <a:endParaRPr lang="en-US" sz="2400" dirty="0">
              <a:solidFill>
                <a:schemeClr val="accent1"/>
              </a:solidFill>
              <a:latin typeface="Arial"/>
              <a:ea typeface="Lato"/>
              <a:cs typeface="Arial"/>
            </a:endParaRPr>
          </a:p>
        </p:txBody>
      </p:sp>
    </p:spTree>
    <p:extLst>
      <p:ext uri="{BB962C8B-B14F-4D97-AF65-F5344CB8AC3E}">
        <p14:creationId xmlns:p14="http://schemas.microsoft.com/office/powerpoint/2010/main" val="7030721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442955"/>
            <a:ext cx="9841203" cy="2014679"/>
          </a:xfrm>
        </p:spPr>
        <p:txBody>
          <a:bodyPr/>
          <a:lstStyle/>
          <a:p>
            <a:r>
              <a:rPr lang="en-US" sz="3200" dirty="0">
                <a:solidFill>
                  <a:srgbClr val="1C498B"/>
                </a:solidFill>
                <a:ea typeface="Lato Medium"/>
                <a:cs typeface="Lato Medium"/>
              </a:rPr>
              <a:t>Brenda Reyes, RN, CLC</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449035"/>
            <a:ext cx="9365380" cy="986569"/>
          </a:xfrm>
        </p:spPr>
        <p:txBody>
          <a:bodyPr vert="horz" lIns="91440" tIns="45720" rIns="91440" bIns="45720" rtlCol="0" anchor="t">
            <a:noAutofit/>
          </a:bodyPr>
          <a:lstStyle/>
          <a:p>
            <a:pPr>
              <a:spcAft>
                <a:spcPts val="0"/>
              </a:spcAft>
            </a:pPr>
            <a:r>
              <a:rPr lang="en-US" dirty="0">
                <a:ea typeface="Lato"/>
                <a:cs typeface="Lato"/>
              </a:rPr>
              <a:t>VP of Training and Curriculum</a:t>
            </a:r>
          </a:p>
          <a:p>
            <a:pPr>
              <a:spcAft>
                <a:spcPts val="0"/>
              </a:spcAft>
            </a:pPr>
            <a:r>
              <a:rPr lang="en-US" dirty="0" err="1">
                <a:ea typeface="Lato"/>
                <a:cs typeface="Lato"/>
              </a:rPr>
              <a:t>HealthConnect</a:t>
            </a:r>
            <a:r>
              <a:rPr lang="en-US" dirty="0">
                <a:ea typeface="Lato"/>
                <a:cs typeface="Lato"/>
              </a:rPr>
              <a:t> One</a:t>
            </a:r>
            <a:endParaRPr lang="en-US" dirty="0"/>
          </a:p>
        </p:txBody>
      </p:sp>
    </p:spTree>
    <p:extLst>
      <p:ext uri="{BB962C8B-B14F-4D97-AF65-F5344CB8AC3E}">
        <p14:creationId xmlns:p14="http://schemas.microsoft.com/office/powerpoint/2010/main" val="978637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E9B28C-DB9D-D5C4-95BA-6D9D3A76246D}"/>
              </a:ext>
            </a:extLst>
          </p:cNvPr>
          <p:cNvSpPr>
            <a:spLocks noGrp="1"/>
          </p:cNvSpPr>
          <p:nvPr>
            <p:ph idx="1"/>
          </p:nvPr>
        </p:nvSpPr>
        <p:spPr/>
        <p:txBody>
          <a:bodyPr>
            <a:normAutofit/>
          </a:bodyPr>
          <a:lstStyle/>
          <a:p>
            <a:r>
              <a:rPr lang="en-US" sz="3200" dirty="0">
                <a:solidFill>
                  <a:schemeClr val="accent1"/>
                </a:solidFill>
                <a:latin typeface="Arial" panose="020B0604020202020204" pitchFamily="34" charset="0"/>
                <a:cs typeface="Arial" panose="020B0604020202020204" pitchFamily="34" charset="0"/>
              </a:rPr>
              <a:t>SFY25</a:t>
            </a:r>
          </a:p>
          <a:p>
            <a:r>
              <a:rPr lang="en-US" sz="3200" dirty="0">
                <a:solidFill>
                  <a:schemeClr val="accent1"/>
                </a:solidFill>
                <a:latin typeface="Arial" panose="020B0604020202020204" pitchFamily="34" charset="0"/>
                <a:cs typeface="Arial" panose="020B0604020202020204" pitchFamily="34" charset="0"/>
              </a:rPr>
              <a:t>New Program</a:t>
            </a:r>
          </a:p>
          <a:p>
            <a:r>
              <a:rPr lang="en-US" sz="3200" dirty="0">
                <a:solidFill>
                  <a:schemeClr val="accent1"/>
                </a:solidFill>
                <a:latin typeface="Arial" panose="020B0604020202020204" pitchFamily="34" charset="0"/>
                <a:cs typeface="Arial" panose="020B0604020202020204" pitchFamily="34" charset="0"/>
              </a:rPr>
              <a:t>Nurse Case Management </a:t>
            </a:r>
          </a:p>
          <a:p>
            <a:r>
              <a:rPr lang="en-US" sz="3200" dirty="0">
                <a:solidFill>
                  <a:schemeClr val="accent1"/>
                </a:solidFill>
                <a:latin typeface="Arial" panose="020B0604020202020204" pitchFamily="34" charset="0"/>
                <a:cs typeface="Arial" panose="020B0604020202020204" pitchFamily="34" charset="0"/>
              </a:rPr>
              <a:t>Home Visits</a:t>
            </a:r>
          </a:p>
          <a:p>
            <a:r>
              <a:rPr lang="en-US" sz="3200" dirty="0">
                <a:solidFill>
                  <a:schemeClr val="accent1"/>
                </a:solidFill>
                <a:latin typeface="Arial" panose="020B0604020202020204" pitchFamily="34" charset="0"/>
                <a:cs typeface="Arial" panose="020B0604020202020204" pitchFamily="34" charset="0"/>
              </a:rPr>
              <a:t>Monthly Nurse Visits</a:t>
            </a:r>
          </a:p>
        </p:txBody>
      </p:sp>
      <p:sp>
        <p:nvSpPr>
          <p:cNvPr id="3" name="Title 2">
            <a:extLst>
              <a:ext uri="{FF2B5EF4-FFF2-40B4-BE49-F238E27FC236}">
                <a16:creationId xmlns:a16="http://schemas.microsoft.com/office/drawing/2014/main" id="{2310C902-F269-935C-D2B5-E1835B182072}"/>
              </a:ext>
            </a:extLst>
          </p:cNvPr>
          <p:cNvSpPr>
            <a:spLocks noGrp="1"/>
          </p:cNvSpPr>
          <p:nvPr>
            <p:ph type="title"/>
          </p:nvPr>
        </p:nvSpPr>
        <p:spPr/>
        <p:txBody>
          <a:bodyPr/>
          <a:lstStyle/>
          <a:p>
            <a:r>
              <a:rPr lang="en-US" dirty="0">
                <a:solidFill>
                  <a:schemeClr val="accent1"/>
                </a:solidFill>
              </a:rPr>
              <a:t>HRFCM</a:t>
            </a:r>
          </a:p>
        </p:txBody>
      </p:sp>
    </p:spTree>
    <p:extLst>
      <p:ext uri="{BB962C8B-B14F-4D97-AF65-F5344CB8AC3E}">
        <p14:creationId xmlns:p14="http://schemas.microsoft.com/office/powerpoint/2010/main" val="2800775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86446F3F-FD51-25F2-2B1A-C2FA4E5564A1}"/>
              </a:ext>
            </a:extLst>
          </p:cNvPr>
          <p:cNvSpPr>
            <a:spLocks noGrp="1"/>
          </p:cNvSpPr>
          <p:nvPr>
            <p:ph type="title"/>
          </p:nvPr>
        </p:nvSpPr>
        <p:spPr>
          <a:xfrm>
            <a:off x="2152650" y="379640"/>
            <a:ext cx="7886700" cy="893335"/>
          </a:xfrm>
        </p:spPr>
        <p:txBody>
          <a:bodyPr/>
          <a:lstStyle/>
          <a:p>
            <a:r>
              <a:rPr lang="en-US" dirty="0"/>
              <a:t>Meeting Our Goal</a:t>
            </a:r>
          </a:p>
        </p:txBody>
      </p:sp>
      <p:sp>
        <p:nvSpPr>
          <p:cNvPr id="3" name="Content Placeholder 2">
            <a:extLst>
              <a:ext uri="{FF2B5EF4-FFF2-40B4-BE49-F238E27FC236}">
                <a16:creationId xmlns:a16="http://schemas.microsoft.com/office/drawing/2014/main" id="{4838EFBE-600A-C11E-5261-544B933C2A9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9183842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40534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1535634"/>
            <a:ext cx="9841203" cy="2014679"/>
          </a:xfrm>
        </p:spPr>
        <p:txBody>
          <a:bodyPr/>
          <a:lstStyle/>
          <a:p>
            <a:r>
              <a:rPr lang="en-US" sz="3200" dirty="0">
                <a:solidFill>
                  <a:srgbClr val="1C498B"/>
                </a:solidFill>
                <a:ea typeface="Lato Medium"/>
                <a:cs typeface="Lato Medium"/>
              </a:rPr>
              <a:t>Kathryn Kaintz Bender, BSN, RN</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3541714"/>
            <a:ext cx="9365380" cy="986569"/>
          </a:xfrm>
        </p:spPr>
        <p:txBody>
          <a:bodyPr vert="horz" lIns="91440" tIns="45720" rIns="91440" bIns="45720" rtlCol="0" anchor="t">
            <a:noAutofit/>
          </a:bodyPr>
          <a:lstStyle/>
          <a:p>
            <a:pPr>
              <a:spcAft>
                <a:spcPts val="0"/>
              </a:spcAft>
            </a:pPr>
            <a:r>
              <a:rPr lang="en-US" dirty="0">
                <a:ea typeface="Lato"/>
                <a:cs typeface="Lato"/>
              </a:rPr>
              <a:t>RN Manager, Family Connects Chicago at Rush</a:t>
            </a:r>
            <a:endParaRPr lang="en-US" dirty="0"/>
          </a:p>
          <a:p>
            <a:pPr>
              <a:spcBef>
                <a:spcPts val="0"/>
              </a:spcBef>
              <a:spcAft>
                <a:spcPts val="0"/>
              </a:spcAft>
            </a:pPr>
            <a:endParaRPr lang="en-US" sz="3600" b="1" dirty="0">
              <a:solidFill>
                <a:srgbClr val="1C498B"/>
              </a:solidFill>
              <a:ea typeface="Calibri"/>
              <a:cs typeface="Calibri"/>
            </a:endParaRPr>
          </a:p>
        </p:txBody>
      </p:sp>
      <p:sp>
        <p:nvSpPr>
          <p:cNvPr id="7" name="TextBox 6">
            <a:extLst>
              <a:ext uri="{FF2B5EF4-FFF2-40B4-BE49-F238E27FC236}">
                <a16:creationId xmlns:a16="http://schemas.microsoft.com/office/drawing/2014/main" id="{7F62867D-9D6C-EDA6-AB8E-D7722E215FD3}"/>
              </a:ext>
            </a:extLst>
          </p:cNvPr>
          <p:cNvSpPr txBox="1"/>
          <p:nvPr/>
        </p:nvSpPr>
        <p:spPr>
          <a:xfrm>
            <a:off x="1398558" y="2460325"/>
            <a:ext cx="937116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ea typeface="Lato"/>
                <a:cs typeface="Lato"/>
              </a:rPr>
              <a:t>Nursing Director, Family Connects Chicago at Rush</a:t>
            </a:r>
            <a:endParaRPr lang="en-US" dirty="0"/>
          </a:p>
        </p:txBody>
      </p:sp>
      <p:sp>
        <p:nvSpPr>
          <p:cNvPr id="8" name="TextBox 7">
            <a:extLst>
              <a:ext uri="{FF2B5EF4-FFF2-40B4-BE49-F238E27FC236}">
                <a16:creationId xmlns:a16="http://schemas.microsoft.com/office/drawing/2014/main" id="{60D88B1E-9976-73D4-ED6F-894A0A6ECD9F}"/>
              </a:ext>
            </a:extLst>
          </p:cNvPr>
          <p:cNvSpPr txBox="1"/>
          <p:nvPr/>
        </p:nvSpPr>
        <p:spPr>
          <a:xfrm>
            <a:off x="1417608" y="1875527"/>
            <a:ext cx="850852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1C498B"/>
                </a:solidFill>
                <a:latin typeface="+mj-lt"/>
                <a:ea typeface="Lato Medium"/>
                <a:cs typeface="Lato Medium"/>
              </a:rPr>
              <a:t>Jennifer B. Rosseau, DNP, WHNP-BC, CNE</a:t>
            </a:r>
          </a:p>
        </p:txBody>
      </p:sp>
      <p:sp>
        <p:nvSpPr>
          <p:cNvPr id="5" name="Rectangle 4"/>
          <p:cNvSpPr/>
          <p:nvPr/>
        </p:nvSpPr>
        <p:spPr>
          <a:xfrm>
            <a:off x="1413310" y="4034998"/>
            <a:ext cx="8652088" cy="769441"/>
          </a:xfrm>
          <a:prstGeom prst="rect">
            <a:avLst/>
          </a:prstGeom>
        </p:spPr>
        <p:txBody>
          <a:bodyPr wrap="square">
            <a:spAutoFit/>
          </a:bodyPr>
          <a:lstStyle/>
          <a:p>
            <a:pPr>
              <a:spcBef>
                <a:spcPts val="0"/>
              </a:spcBef>
            </a:pPr>
            <a:r>
              <a:rPr lang="en-US" sz="2200" b="1" i="1" dirty="0"/>
              <a:t>Improving Health Equity in the Early Postpartum </a:t>
            </a:r>
          </a:p>
          <a:p>
            <a:pPr>
              <a:spcBef>
                <a:spcPts val="0"/>
              </a:spcBef>
            </a:pPr>
            <a:r>
              <a:rPr lang="en-US" sz="2200" b="1" i="1" dirty="0"/>
              <a:t>One Family at a Time</a:t>
            </a:r>
          </a:p>
        </p:txBody>
      </p:sp>
    </p:spTree>
    <p:extLst>
      <p:ext uri="{BB962C8B-B14F-4D97-AF65-F5344CB8AC3E}">
        <p14:creationId xmlns:p14="http://schemas.microsoft.com/office/powerpoint/2010/main" val="261876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ABE12-871D-73F2-345B-679BA05497FA}"/>
              </a:ext>
            </a:extLst>
          </p:cNvPr>
          <p:cNvSpPr>
            <a:spLocks noGrp="1"/>
          </p:cNvSpPr>
          <p:nvPr>
            <p:ph type="title"/>
          </p:nvPr>
        </p:nvSpPr>
        <p:spPr/>
        <p:txBody>
          <a:bodyPr/>
          <a:lstStyle/>
          <a:p>
            <a:r>
              <a:rPr lang="en-US" dirty="0"/>
              <a:t>Private – Public Partnership</a:t>
            </a:r>
          </a:p>
        </p:txBody>
      </p:sp>
      <p:graphicFrame>
        <p:nvGraphicFramePr>
          <p:cNvPr id="5" name="Content Placeholder 4">
            <a:extLst>
              <a:ext uri="{FF2B5EF4-FFF2-40B4-BE49-F238E27FC236}">
                <a16:creationId xmlns:a16="http://schemas.microsoft.com/office/drawing/2014/main" id="{444B56D7-8C1E-B366-ADF8-5225CC6111D7}"/>
              </a:ext>
            </a:extLst>
          </p:cNvPr>
          <p:cNvGraphicFramePr>
            <a:graphicFrameLocks noGrp="1"/>
          </p:cNvGraphicFramePr>
          <p:nvPr>
            <p:ph idx="1"/>
          </p:nvPr>
        </p:nvGraphicFramePr>
        <p:xfrm>
          <a:off x="1096963" y="1846263"/>
          <a:ext cx="10058400" cy="4022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14002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0BA5665-9598-4383-8F19-52182CBB65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4C777A6-9696-47DF-BA90-40895EFCE8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724" y="457200"/>
            <a:ext cx="11274552"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C05B094-D180-41FA-B209-8388E9F7DF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2732" y="521208"/>
            <a:ext cx="11146536" cy="581558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9D1A434-C95E-5E47-A115-95FDD9D85D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89326" y="841248"/>
            <a:ext cx="3999253" cy="5175504"/>
          </a:xfrm>
          <a:prstGeom prst="rect">
            <a:avLst/>
          </a:prstGeom>
        </p:spPr>
      </p:pic>
      <p:pic>
        <p:nvPicPr>
          <p:cNvPr id="5" name="Picture 4" descr="A map of the state of chicago&#10;&#10;Description automatically generated">
            <a:extLst>
              <a:ext uri="{FF2B5EF4-FFF2-40B4-BE49-F238E27FC236}">
                <a16:creationId xmlns:a16="http://schemas.microsoft.com/office/drawing/2014/main" id="{AEF976AD-B5C3-5D46-B302-2C05B8D60D8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50560" y="841248"/>
            <a:ext cx="4101586" cy="5175504"/>
          </a:xfrm>
          <a:prstGeom prst="rect">
            <a:avLst/>
          </a:prstGeom>
        </p:spPr>
      </p:pic>
    </p:spTree>
    <p:extLst>
      <p:ext uri="{BB962C8B-B14F-4D97-AF65-F5344CB8AC3E}">
        <p14:creationId xmlns:p14="http://schemas.microsoft.com/office/powerpoint/2010/main" val="36498841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alpha val="55000"/>
          </a:schemeClr>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3B0D588A-C59B-D844-A27E-6614494B3302}"/>
              </a:ext>
            </a:extLst>
          </p:cNvPr>
          <p:cNvSpPr/>
          <p:nvPr/>
        </p:nvSpPr>
        <p:spPr>
          <a:xfrm>
            <a:off x="1717964" y="1413168"/>
            <a:ext cx="9621861" cy="5134643"/>
          </a:xfrm>
          <a:custGeom>
            <a:avLst/>
            <a:gdLst>
              <a:gd name="connsiteX0" fmla="*/ 0 w 9621861"/>
              <a:gd name="connsiteY0" fmla="*/ 0 h 5134643"/>
              <a:gd name="connsiteX1" fmla="*/ 817418 w 9621861"/>
              <a:gd name="connsiteY1" fmla="*/ 623455 h 5134643"/>
              <a:gd name="connsiteX2" fmla="*/ 2092036 w 9621861"/>
              <a:gd name="connsiteY2" fmla="*/ 914400 h 5134643"/>
              <a:gd name="connsiteX3" fmla="*/ 3006436 w 9621861"/>
              <a:gd name="connsiteY3" fmla="*/ 2466109 h 5134643"/>
              <a:gd name="connsiteX4" fmla="*/ 5278581 w 9621861"/>
              <a:gd name="connsiteY4" fmla="*/ 2826328 h 5134643"/>
              <a:gd name="connsiteX5" fmla="*/ 6206836 w 9621861"/>
              <a:gd name="connsiteY5" fmla="*/ 4475018 h 5134643"/>
              <a:gd name="connsiteX6" fmla="*/ 9171709 w 9621861"/>
              <a:gd name="connsiteY6" fmla="*/ 5056909 h 5134643"/>
              <a:gd name="connsiteX7" fmla="*/ 9559636 w 9621861"/>
              <a:gd name="connsiteY7" fmla="*/ 5112328 h 513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1861" h="5134643">
                <a:moveTo>
                  <a:pt x="0" y="0"/>
                </a:moveTo>
                <a:cubicBezTo>
                  <a:pt x="234372" y="235527"/>
                  <a:pt x="468745" y="471055"/>
                  <a:pt x="817418" y="623455"/>
                </a:cubicBezTo>
                <a:cubicBezTo>
                  <a:pt x="1166091" y="775855"/>
                  <a:pt x="1727200" y="607291"/>
                  <a:pt x="2092036" y="914400"/>
                </a:cubicBezTo>
                <a:cubicBezTo>
                  <a:pt x="2456872" y="1221509"/>
                  <a:pt x="2475345" y="2147454"/>
                  <a:pt x="3006436" y="2466109"/>
                </a:cubicBezTo>
                <a:cubicBezTo>
                  <a:pt x="3537527" y="2784764"/>
                  <a:pt x="4745181" y="2491510"/>
                  <a:pt x="5278581" y="2826328"/>
                </a:cubicBezTo>
                <a:cubicBezTo>
                  <a:pt x="5811981" y="3161146"/>
                  <a:pt x="5557981" y="4103255"/>
                  <a:pt x="6206836" y="4475018"/>
                </a:cubicBezTo>
                <a:cubicBezTo>
                  <a:pt x="6855691" y="4846781"/>
                  <a:pt x="8612909" y="4950691"/>
                  <a:pt x="9171709" y="5056909"/>
                </a:cubicBezTo>
                <a:cubicBezTo>
                  <a:pt x="9730509" y="5163127"/>
                  <a:pt x="9645072" y="5137727"/>
                  <a:pt x="9559636" y="511232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Graphic 4" descr="Pregnant lady">
            <a:extLst>
              <a:ext uri="{FF2B5EF4-FFF2-40B4-BE49-F238E27FC236}">
                <a16:creationId xmlns:a16="http://schemas.microsoft.com/office/drawing/2014/main" id="{3BDE2CD8-773C-9144-AC42-32DF1C1FF30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4256" y="955968"/>
            <a:ext cx="914400" cy="914400"/>
          </a:xfrm>
          <a:prstGeom prst="rect">
            <a:avLst/>
          </a:prstGeom>
        </p:spPr>
      </p:pic>
      <p:pic>
        <p:nvPicPr>
          <p:cNvPr id="6" name="Graphic 5" descr="Woman with stroller">
            <a:extLst>
              <a:ext uri="{FF2B5EF4-FFF2-40B4-BE49-F238E27FC236}">
                <a16:creationId xmlns:a16="http://schemas.microsoft.com/office/drawing/2014/main" id="{F859C7B3-E4BE-0347-814A-E0D98A714C1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00994" y="2830473"/>
            <a:ext cx="914400" cy="914400"/>
          </a:xfrm>
          <a:prstGeom prst="rect">
            <a:avLst/>
          </a:prstGeom>
        </p:spPr>
      </p:pic>
      <p:sp>
        <p:nvSpPr>
          <p:cNvPr id="7" name="TextBox 6">
            <a:extLst>
              <a:ext uri="{FF2B5EF4-FFF2-40B4-BE49-F238E27FC236}">
                <a16:creationId xmlns:a16="http://schemas.microsoft.com/office/drawing/2014/main" id="{0653D154-FC16-3348-A067-443C3AF53C7B}"/>
              </a:ext>
            </a:extLst>
          </p:cNvPr>
          <p:cNvSpPr txBox="1"/>
          <p:nvPr/>
        </p:nvSpPr>
        <p:spPr>
          <a:xfrm>
            <a:off x="1975867" y="1163643"/>
            <a:ext cx="323396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L&amp;D care focuses on birthing parent</a:t>
            </a:r>
          </a:p>
        </p:txBody>
      </p:sp>
      <p:pic>
        <p:nvPicPr>
          <p:cNvPr id="9" name="Graphic 8" descr="Baby with solid fill">
            <a:extLst>
              <a:ext uri="{FF2B5EF4-FFF2-40B4-BE49-F238E27FC236}">
                <a16:creationId xmlns:a16="http://schemas.microsoft.com/office/drawing/2014/main" id="{63B5D661-E982-3746-A694-21116A23514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84475" y="2332308"/>
            <a:ext cx="520445" cy="520445"/>
          </a:xfrm>
          <a:prstGeom prst="rect">
            <a:avLst/>
          </a:prstGeom>
        </p:spPr>
      </p:pic>
      <p:sp>
        <p:nvSpPr>
          <p:cNvPr id="10" name="TextBox 9">
            <a:extLst>
              <a:ext uri="{FF2B5EF4-FFF2-40B4-BE49-F238E27FC236}">
                <a16:creationId xmlns:a16="http://schemas.microsoft.com/office/drawing/2014/main" id="{F65CADE0-658D-834F-9BE9-5C3FC1FA8939}"/>
              </a:ext>
            </a:extLst>
          </p:cNvPr>
          <p:cNvSpPr txBox="1"/>
          <p:nvPr/>
        </p:nvSpPr>
        <p:spPr>
          <a:xfrm>
            <a:off x="891921" y="2217453"/>
            <a:ext cx="215444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Postpartum care focuses on mom and baby separately</a:t>
            </a:r>
          </a:p>
        </p:txBody>
      </p:sp>
      <p:pic>
        <p:nvPicPr>
          <p:cNvPr id="12" name="Graphic 11" descr="Sleep with solid fill">
            <a:extLst>
              <a:ext uri="{FF2B5EF4-FFF2-40B4-BE49-F238E27FC236}">
                <a16:creationId xmlns:a16="http://schemas.microsoft.com/office/drawing/2014/main" id="{3177174E-B81D-0641-85D5-4EC3BD31B99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97666" y="2093456"/>
            <a:ext cx="914400" cy="914400"/>
          </a:xfrm>
          <a:prstGeom prst="rect">
            <a:avLst/>
          </a:prstGeom>
        </p:spPr>
      </p:pic>
      <p:sp>
        <p:nvSpPr>
          <p:cNvPr id="13" name="TextBox 12">
            <a:extLst>
              <a:ext uri="{FF2B5EF4-FFF2-40B4-BE49-F238E27FC236}">
                <a16:creationId xmlns:a16="http://schemas.microsoft.com/office/drawing/2014/main" id="{2792A02F-1E58-A947-A783-40C39413999B}"/>
              </a:ext>
            </a:extLst>
          </p:cNvPr>
          <p:cNvSpPr txBox="1"/>
          <p:nvPr/>
        </p:nvSpPr>
        <p:spPr>
          <a:xfrm>
            <a:off x="5209829" y="1961362"/>
            <a:ext cx="27276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Well child care heavily focuses on infant health, with </a:t>
            </a:r>
            <a:r>
              <a:rPr kumimoji="0" lang="en-US" sz="1600" b="1" i="0" u="none" strike="noStrike" kern="1200" cap="none" spc="0" normalizeH="0" baseline="0" noProof="0" dirty="0">
                <a:ln>
                  <a:noFill/>
                </a:ln>
                <a:solidFill>
                  <a:srgbClr val="00B050"/>
                </a:solidFill>
                <a:effectLst/>
                <a:uLnTx/>
                <a:uFillTx/>
                <a:latin typeface="Calibri" panose="020F0502020204030204"/>
                <a:ea typeface="+mn-ea"/>
                <a:cs typeface="+mn-cs"/>
              </a:rPr>
              <a:t>high visit completion rates </a:t>
            </a:r>
          </a:p>
        </p:txBody>
      </p:sp>
      <p:sp>
        <p:nvSpPr>
          <p:cNvPr id="14" name="TextBox 13">
            <a:extLst>
              <a:ext uri="{FF2B5EF4-FFF2-40B4-BE49-F238E27FC236}">
                <a16:creationId xmlns:a16="http://schemas.microsoft.com/office/drawing/2014/main" id="{BDBEC912-BEAB-6148-8947-28C4987EA876}"/>
              </a:ext>
            </a:extLst>
          </p:cNvPr>
          <p:cNvSpPr txBox="1"/>
          <p:nvPr/>
        </p:nvSpPr>
        <p:spPr>
          <a:xfrm>
            <a:off x="1441521" y="3693943"/>
            <a:ext cx="281723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Postpartum OB care focuses on maternal health, with </a:t>
            </a: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low visit completion rates </a:t>
            </a:r>
          </a:p>
        </p:txBody>
      </p:sp>
      <p:pic>
        <p:nvPicPr>
          <p:cNvPr id="16" name="Graphic 15" descr="Call center with solid fill">
            <a:extLst>
              <a:ext uri="{FF2B5EF4-FFF2-40B4-BE49-F238E27FC236}">
                <a16:creationId xmlns:a16="http://schemas.microsoft.com/office/drawing/2014/main" id="{3B7ED67B-D10A-4740-A064-98D2BC26804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886533" y="2778478"/>
            <a:ext cx="914400" cy="914400"/>
          </a:xfrm>
          <a:prstGeom prst="rect">
            <a:avLst/>
          </a:prstGeom>
        </p:spPr>
      </p:pic>
      <p:sp>
        <p:nvSpPr>
          <p:cNvPr id="17" name="TextBox 16">
            <a:extLst>
              <a:ext uri="{FF2B5EF4-FFF2-40B4-BE49-F238E27FC236}">
                <a16:creationId xmlns:a16="http://schemas.microsoft.com/office/drawing/2014/main" id="{AE23D8EA-2C6C-A94C-B08D-660145CCB8BF}"/>
              </a:ext>
            </a:extLst>
          </p:cNvPr>
          <p:cNvSpPr txBox="1"/>
          <p:nvPr/>
        </p:nvSpPr>
        <p:spPr>
          <a:xfrm>
            <a:off x="8714102" y="2798247"/>
            <a:ext cx="270585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Patient Navigation and/or Care Management exists for </a:t>
            </a: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only some families </a:t>
            </a:r>
          </a:p>
        </p:txBody>
      </p:sp>
      <p:pic>
        <p:nvPicPr>
          <p:cNvPr id="21" name="Graphic 20" descr="Doctor male with solid fill">
            <a:extLst>
              <a:ext uri="{FF2B5EF4-FFF2-40B4-BE49-F238E27FC236}">
                <a16:creationId xmlns:a16="http://schemas.microsoft.com/office/drawing/2014/main" id="{85AB75DE-F8C9-B349-8546-8B9CC552B749}"/>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117775" y="3744873"/>
            <a:ext cx="596177" cy="596177"/>
          </a:xfrm>
          <a:prstGeom prst="rect">
            <a:avLst/>
          </a:prstGeom>
        </p:spPr>
      </p:pic>
      <p:pic>
        <p:nvPicPr>
          <p:cNvPr id="25" name="Graphic 24" descr="Social network with solid fill">
            <a:extLst>
              <a:ext uri="{FF2B5EF4-FFF2-40B4-BE49-F238E27FC236}">
                <a16:creationId xmlns:a16="http://schemas.microsoft.com/office/drawing/2014/main" id="{EE395C0F-783D-9D4F-AEF1-775F78C1A39A}"/>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800021" y="4105630"/>
            <a:ext cx="990115" cy="990115"/>
          </a:xfrm>
          <a:prstGeom prst="rect">
            <a:avLst/>
          </a:prstGeom>
        </p:spPr>
      </p:pic>
      <p:sp>
        <p:nvSpPr>
          <p:cNvPr id="26" name="TextBox 25">
            <a:extLst>
              <a:ext uri="{FF2B5EF4-FFF2-40B4-BE49-F238E27FC236}">
                <a16:creationId xmlns:a16="http://schemas.microsoft.com/office/drawing/2014/main" id="{B4428683-15A1-DA49-9211-3F5D9E08DF32}"/>
              </a:ext>
            </a:extLst>
          </p:cNvPr>
          <p:cNvSpPr txBox="1"/>
          <p:nvPr/>
        </p:nvSpPr>
        <p:spPr>
          <a:xfrm>
            <a:off x="8758459" y="3921896"/>
            <a:ext cx="3332104"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Links to support for healthcare, mental health needs, longer term home visiting, and social needs are challenged by issues of </a:t>
            </a: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availability, accessibility, policy and trust</a:t>
            </a:r>
          </a:p>
        </p:txBody>
      </p:sp>
      <p:pic>
        <p:nvPicPr>
          <p:cNvPr id="28" name="Graphic 27" descr="Man with baby with solid fill">
            <a:extLst>
              <a:ext uri="{FF2B5EF4-FFF2-40B4-BE49-F238E27FC236}">
                <a16:creationId xmlns:a16="http://schemas.microsoft.com/office/drawing/2014/main" id="{CDB3F516-21AF-BD41-803A-E0B89D501AFC}"/>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594124" y="4204240"/>
            <a:ext cx="914400" cy="914400"/>
          </a:xfrm>
          <a:prstGeom prst="rect">
            <a:avLst/>
          </a:prstGeom>
        </p:spPr>
      </p:pic>
      <p:sp>
        <p:nvSpPr>
          <p:cNvPr id="34" name="TextBox 33">
            <a:extLst>
              <a:ext uri="{FF2B5EF4-FFF2-40B4-BE49-F238E27FC236}">
                <a16:creationId xmlns:a16="http://schemas.microsoft.com/office/drawing/2014/main" id="{68E02115-DDE1-6247-835A-951BF0487114}"/>
              </a:ext>
            </a:extLst>
          </p:cNvPr>
          <p:cNvSpPr txBox="1"/>
          <p:nvPr/>
        </p:nvSpPr>
        <p:spPr>
          <a:xfrm>
            <a:off x="4978868" y="5289111"/>
            <a:ext cx="1499898"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Family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fluctuates</a:t>
            </a:r>
          </a:p>
        </p:txBody>
      </p:sp>
      <p:pic>
        <p:nvPicPr>
          <p:cNvPr id="38" name="Graphic 37" descr="Social distancing with solid fill">
            <a:extLst>
              <a:ext uri="{FF2B5EF4-FFF2-40B4-BE49-F238E27FC236}">
                <a16:creationId xmlns:a16="http://schemas.microsoft.com/office/drawing/2014/main" id="{A9F8386B-F18C-224D-91B1-AA359F39BBA9}"/>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713952" y="4423029"/>
            <a:ext cx="880172" cy="880172"/>
          </a:xfrm>
          <a:prstGeom prst="rect">
            <a:avLst/>
          </a:prstGeom>
        </p:spPr>
      </p:pic>
      <p:pic>
        <p:nvPicPr>
          <p:cNvPr id="40" name="Graphic 39" descr="Confused person with solid fill">
            <a:extLst>
              <a:ext uri="{FF2B5EF4-FFF2-40B4-BE49-F238E27FC236}">
                <a16:creationId xmlns:a16="http://schemas.microsoft.com/office/drawing/2014/main" id="{A7816F23-0C29-5B41-BDA5-02C672DE5E30}"/>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156158" y="4670911"/>
            <a:ext cx="854547" cy="854547"/>
          </a:xfrm>
          <a:prstGeom prst="rect">
            <a:avLst/>
          </a:prstGeom>
        </p:spPr>
      </p:pic>
      <p:sp>
        <p:nvSpPr>
          <p:cNvPr id="41" name="TextBox 40">
            <a:extLst>
              <a:ext uri="{FF2B5EF4-FFF2-40B4-BE49-F238E27FC236}">
                <a16:creationId xmlns:a16="http://schemas.microsoft.com/office/drawing/2014/main" id="{48883D3D-F135-5A47-8195-85BDDD00B409}"/>
              </a:ext>
            </a:extLst>
          </p:cNvPr>
          <p:cNvSpPr txBox="1"/>
          <p:nvPr/>
        </p:nvSpPr>
        <p:spPr>
          <a:xfrm>
            <a:off x="7132255" y="5980857"/>
            <a:ext cx="219701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Calibri" panose="020F0502020204030204"/>
                <a:ea typeface="+mn-ea"/>
                <a:cs typeface="+mn-cs"/>
              </a:rPr>
              <a:t>Social needs compound</a:t>
            </a:r>
          </a:p>
        </p:txBody>
      </p:sp>
      <p:pic>
        <p:nvPicPr>
          <p:cNvPr id="43" name="Graphic 42" descr="Nappy with solid fill">
            <a:extLst>
              <a:ext uri="{FF2B5EF4-FFF2-40B4-BE49-F238E27FC236}">
                <a16:creationId xmlns:a16="http://schemas.microsoft.com/office/drawing/2014/main" id="{B4C64ADC-F388-C04E-BDD0-ED14CE2B6165}"/>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820633" y="5776466"/>
            <a:ext cx="562381" cy="562381"/>
          </a:xfrm>
          <a:prstGeom prst="rect">
            <a:avLst/>
          </a:prstGeom>
        </p:spPr>
      </p:pic>
      <p:pic>
        <p:nvPicPr>
          <p:cNvPr id="45" name="Graphic 44" descr="Grocery bag with solid fill">
            <a:extLst>
              <a:ext uri="{FF2B5EF4-FFF2-40B4-BE49-F238E27FC236}">
                <a16:creationId xmlns:a16="http://schemas.microsoft.com/office/drawing/2014/main" id="{BC916EDA-3CDB-884F-A527-9D354842E8A3}"/>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342006" y="5761829"/>
            <a:ext cx="557582" cy="557582"/>
          </a:xfrm>
          <a:prstGeom prst="rect">
            <a:avLst/>
          </a:prstGeom>
        </p:spPr>
      </p:pic>
      <p:pic>
        <p:nvPicPr>
          <p:cNvPr id="47" name="Graphic 46" descr="Bus with solid fill">
            <a:extLst>
              <a:ext uri="{FF2B5EF4-FFF2-40B4-BE49-F238E27FC236}">
                <a16:creationId xmlns:a16="http://schemas.microsoft.com/office/drawing/2014/main" id="{BB95EAE1-FC34-A648-9AC3-A26039F437E3}"/>
              </a:ext>
            </a:extLst>
          </p:cNvPr>
          <p:cNvPicPr>
            <a:picLocks noChangeAspect="1"/>
          </p:cNvPicPr>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0424511" y="5826817"/>
            <a:ext cx="557582" cy="557582"/>
          </a:xfrm>
          <a:prstGeom prst="rect">
            <a:avLst/>
          </a:prstGeom>
        </p:spPr>
      </p:pic>
      <p:pic>
        <p:nvPicPr>
          <p:cNvPr id="49" name="Graphic 48" descr="Money with solid fill">
            <a:extLst>
              <a:ext uri="{FF2B5EF4-FFF2-40B4-BE49-F238E27FC236}">
                <a16:creationId xmlns:a16="http://schemas.microsoft.com/office/drawing/2014/main" id="{117C8BDD-2D41-DA4B-909C-61BD5E07C8A7}"/>
              </a:ext>
            </a:extLst>
          </p:cNvPr>
          <p:cNvPicPr>
            <a:picLocks noChangeAspect="1"/>
          </p:cNvPicPr>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1001367" y="5779350"/>
            <a:ext cx="556670" cy="556670"/>
          </a:xfrm>
          <a:prstGeom prst="rect">
            <a:avLst/>
          </a:prstGeom>
        </p:spPr>
      </p:pic>
      <p:pic>
        <p:nvPicPr>
          <p:cNvPr id="51" name="Graphic 50" descr="Playground with solid fill">
            <a:extLst>
              <a:ext uri="{FF2B5EF4-FFF2-40B4-BE49-F238E27FC236}">
                <a16:creationId xmlns:a16="http://schemas.microsoft.com/office/drawing/2014/main" id="{35C0E672-25F5-B142-9502-12CF9673184B}"/>
              </a:ext>
            </a:extLst>
          </p:cNvPr>
          <p:cNvPicPr>
            <a:picLocks noChangeAspect="1"/>
          </p:cNvPicPr>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1594652" y="5750735"/>
            <a:ext cx="556670" cy="556670"/>
          </a:xfrm>
          <a:prstGeom prst="rect">
            <a:avLst/>
          </a:prstGeom>
        </p:spPr>
      </p:pic>
      <p:sp>
        <p:nvSpPr>
          <p:cNvPr id="30" name="TextBox 29">
            <a:extLst>
              <a:ext uri="{FF2B5EF4-FFF2-40B4-BE49-F238E27FC236}">
                <a16:creationId xmlns:a16="http://schemas.microsoft.com/office/drawing/2014/main" id="{9E4D2D28-D9AA-714F-8468-DC7CE15F258C}"/>
              </a:ext>
            </a:extLst>
          </p:cNvPr>
          <p:cNvSpPr txBox="1"/>
          <p:nvPr/>
        </p:nvSpPr>
        <p:spPr>
          <a:xfrm>
            <a:off x="-19692" y="-27394"/>
            <a:ext cx="12192000" cy="461665"/>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Siloed Care Contributes to Compounding Needs</a:t>
            </a:r>
          </a:p>
        </p:txBody>
      </p:sp>
    </p:spTree>
    <p:extLst>
      <p:ext uri="{BB962C8B-B14F-4D97-AF65-F5344CB8AC3E}">
        <p14:creationId xmlns:p14="http://schemas.microsoft.com/office/powerpoint/2010/main" val="1902102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FCE8C-0161-4816-DE23-5282664CB209}"/>
              </a:ext>
            </a:extLst>
          </p:cNvPr>
          <p:cNvSpPr>
            <a:spLocks noGrp="1"/>
          </p:cNvSpPr>
          <p:nvPr>
            <p:ph type="title"/>
          </p:nvPr>
        </p:nvSpPr>
        <p:spPr/>
        <p:txBody>
          <a:bodyPr/>
          <a:lstStyle/>
          <a:p>
            <a:r>
              <a:rPr lang="en-US" dirty="0"/>
              <a:t>Program Goals</a:t>
            </a:r>
          </a:p>
        </p:txBody>
      </p:sp>
      <p:sp>
        <p:nvSpPr>
          <p:cNvPr id="3" name="Content Placeholder 2">
            <a:extLst>
              <a:ext uri="{FF2B5EF4-FFF2-40B4-BE49-F238E27FC236}">
                <a16:creationId xmlns:a16="http://schemas.microsoft.com/office/drawing/2014/main" id="{07B7E8A9-BFE6-2B03-DD37-02121D30D7AE}"/>
              </a:ext>
            </a:extLst>
          </p:cNvPr>
          <p:cNvSpPr>
            <a:spLocks noGrp="1"/>
          </p:cNvSpPr>
          <p:nvPr>
            <p:ph idx="1"/>
          </p:nvPr>
        </p:nvSpPr>
        <p:spPr/>
        <p:txBody>
          <a:bodyPr>
            <a:normAutofit/>
          </a:bodyPr>
          <a:lstStyle/>
          <a:p>
            <a:pPr lvl="1">
              <a:buFont typeface="Arial" panose="020B0604020202020204" pitchFamily="34" charset="0"/>
              <a:buChar char="•"/>
            </a:pPr>
            <a:r>
              <a:rPr lang="en-US" sz="2800" dirty="0"/>
              <a:t>Advance maternal-infant health equity</a:t>
            </a:r>
          </a:p>
          <a:p>
            <a:pPr lvl="1">
              <a:buFont typeface="Arial" panose="020B0604020202020204" pitchFamily="34" charset="0"/>
              <a:buChar char="•"/>
            </a:pPr>
            <a:r>
              <a:rPr lang="en-US" sz="2800" dirty="0"/>
              <a:t>Standardize social needs screening and referral</a:t>
            </a:r>
          </a:p>
          <a:p>
            <a:pPr lvl="1">
              <a:buFont typeface="Arial" panose="020B0604020202020204" pitchFamily="34" charset="0"/>
              <a:buChar char="•"/>
            </a:pPr>
            <a:r>
              <a:rPr lang="en-US" sz="2800" dirty="0"/>
              <a:t>Standardize maternal and family well-being screening and referral </a:t>
            </a:r>
          </a:p>
          <a:p>
            <a:pPr lvl="1">
              <a:buFont typeface="Arial" panose="020B0604020202020204" pitchFamily="34" charset="0"/>
              <a:buChar char="•"/>
            </a:pPr>
            <a:r>
              <a:rPr lang="en-US" sz="2800" dirty="0"/>
              <a:t>Align with Medical Center and College of Nursing mission, vision, and values to meet the needs of and strengthen surrounding communities, increase multidisciplinary collaboration, and expose health professions students to innovative care delivery models</a:t>
            </a:r>
          </a:p>
        </p:txBody>
      </p:sp>
    </p:spTree>
    <p:extLst>
      <p:ext uri="{BB962C8B-B14F-4D97-AF65-F5344CB8AC3E}">
        <p14:creationId xmlns:p14="http://schemas.microsoft.com/office/powerpoint/2010/main" val="2431629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2742" y="699182"/>
            <a:ext cx="9218613" cy="711200"/>
          </a:xfrm>
          <a:prstGeom prst="rect">
            <a:avLst/>
          </a:prstGeom>
        </p:spPr>
        <p:txBody>
          <a:bodyPr>
            <a:noAutofit/>
          </a:bodyPr>
          <a:lstStyle/>
          <a:p>
            <a:r>
              <a:rPr lang="en-US" sz="4000" dirty="0">
                <a:cs typeface="Arial" panose="020B0604020202020204" pitchFamily="34" charset="0"/>
              </a:rPr>
              <a:t>The Family Connects Model </a:t>
            </a:r>
            <a:br>
              <a:rPr lang="en-US" sz="2400" b="1" dirty="0">
                <a:latin typeface="+mn-lt"/>
                <a:cs typeface="Arial" panose="020B0604020202020204" pitchFamily="34" charset="0"/>
              </a:rPr>
            </a:br>
            <a:endParaRPr lang="en-US" sz="2400" b="1" dirty="0">
              <a:latin typeface="+mn-lt"/>
              <a:cs typeface="Arial" panose="020B0604020202020204" pitchFamily="34" charset="0"/>
            </a:endParaRPr>
          </a:p>
        </p:txBody>
      </p:sp>
      <p:grpSp>
        <p:nvGrpSpPr>
          <p:cNvPr id="12" name="Group 11"/>
          <p:cNvGrpSpPr/>
          <p:nvPr/>
        </p:nvGrpSpPr>
        <p:grpSpPr>
          <a:xfrm>
            <a:off x="2088107" y="1023583"/>
            <a:ext cx="8147714" cy="5158854"/>
            <a:chOff x="2001486" y="1543665"/>
            <a:chExt cx="7961544" cy="4931712"/>
          </a:xfrm>
        </p:grpSpPr>
        <p:sp>
          <p:nvSpPr>
            <p:cNvPr id="4" name="Content Placeholder 2">
              <a:extLst>
                <a:ext uri="{FF2B5EF4-FFF2-40B4-BE49-F238E27FC236}">
                  <a16:creationId xmlns:a16="http://schemas.microsoft.com/office/drawing/2014/main" id="{CBBB6F44-11DD-3F4B-BBD3-704334FE9CE5}"/>
                </a:ext>
              </a:extLst>
            </p:cNvPr>
            <p:cNvSpPr txBox="1">
              <a:spLocks/>
            </p:cNvSpPr>
            <p:nvPr/>
          </p:nvSpPr>
          <p:spPr>
            <a:xfrm>
              <a:off x="2120391" y="2506317"/>
              <a:ext cx="3388889" cy="1203415"/>
            </a:xfrm>
            <a:prstGeom prst="rect">
              <a:avLst/>
            </a:prstGeom>
          </p:spPr>
          <p:txBody>
            <a:bodyPr vert="horz" lIns="68580" tIns="34290" rIns="68580" bIns="34290" rtlCol="0">
              <a:normAutofit lnSpcReduction="10000"/>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Gill Sans"/>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Gill Sans"/>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Gill Sans"/>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Gill Sans"/>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Gill Sans"/>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defTabSz="685777">
                <a:buClr>
                  <a:srgbClr val="171B60"/>
                </a:buClr>
                <a:buNone/>
              </a:pPr>
              <a:r>
                <a:rPr lang="en-US" sz="1650" b="1" dirty="0">
                  <a:solidFill>
                    <a:srgbClr val="0A539C"/>
                  </a:solidFill>
                  <a:latin typeface="Georgia" panose="02040502050405020303" pitchFamily="18" charset="0"/>
                </a:rPr>
                <a:t>FOR ALL</a:t>
              </a:r>
            </a:p>
            <a:p>
              <a:pPr marL="0" indent="0" algn="ctr" defTabSz="685777">
                <a:buClr>
                  <a:srgbClr val="171B60"/>
                </a:buClr>
                <a:buNone/>
              </a:pPr>
              <a:r>
                <a:rPr lang="en-US" sz="2000" dirty="0">
                  <a:solidFill>
                    <a:srgbClr val="171B60"/>
                  </a:solidFill>
                  <a:latin typeface="Georgia" panose="02040502050405020303" pitchFamily="18" charset="0"/>
                </a:rPr>
                <a:t>Helping all families regardless of income or background</a:t>
              </a:r>
            </a:p>
          </p:txBody>
        </p:sp>
        <p:sp>
          <p:nvSpPr>
            <p:cNvPr id="5" name="Content Placeholder 3">
              <a:extLst>
                <a:ext uri="{FF2B5EF4-FFF2-40B4-BE49-F238E27FC236}">
                  <a16:creationId xmlns:a16="http://schemas.microsoft.com/office/drawing/2014/main" id="{3C948DDF-4B02-E44E-84DD-5C8CBC43C271}"/>
                </a:ext>
              </a:extLst>
            </p:cNvPr>
            <p:cNvSpPr txBox="1">
              <a:spLocks/>
            </p:cNvSpPr>
            <p:nvPr/>
          </p:nvSpPr>
          <p:spPr>
            <a:xfrm>
              <a:off x="6712225" y="2506318"/>
              <a:ext cx="3250805" cy="1306526"/>
            </a:xfrm>
            <a:prstGeom prst="rect">
              <a:avLst/>
            </a:prstGeom>
          </p:spPr>
          <p:txBody>
            <a:bodyPr>
              <a:norm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Gill Sans"/>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Gill Sans"/>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Gill Sans"/>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Gill Sans"/>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Gill Sans"/>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defTabSz="685777">
                <a:buClr>
                  <a:srgbClr val="171B60"/>
                </a:buClr>
                <a:buNone/>
              </a:pPr>
              <a:r>
                <a:rPr lang="en-US" sz="1650" b="1" dirty="0">
                  <a:solidFill>
                    <a:srgbClr val="52B79B"/>
                  </a:solidFill>
                  <a:latin typeface="Georgia" panose="02040502050405020303" pitchFamily="18" charset="0"/>
                </a:rPr>
                <a:t>THREE WEEKS</a:t>
              </a:r>
            </a:p>
            <a:p>
              <a:pPr marL="0" indent="0" algn="ctr" defTabSz="685777">
                <a:buClr>
                  <a:srgbClr val="171B60"/>
                </a:buClr>
                <a:buNone/>
              </a:pPr>
              <a:r>
                <a:rPr lang="en-US" sz="2000" dirty="0">
                  <a:solidFill>
                    <a:srgbClr val="171B60"/>
                  </a:solidFill>
                  <a:latin typeface="Georgia" panose="02040502050405020303" pitchFamily="18" charset="0"/>
                </a:rPr>
                <a:t>One visit is scheduled around 3 weeks after a baby’s birth</a:t>
              </a:r>
            </a:p>
          </p:txBody>
        </p:sp>
        <p:sp>
          <p:nvSpPr>
            <p:cNvPr id="6" name="Content Placeholder 3">
              <a:extLst>
                <a:ext uri="{FF2B5EF4-FFF2-40B4-BE49-F238E27FC236}">
                  <a16:creationId xmlns:a16="http://schemas.microsoft.com/office/drawing/2014/main" id="{CDDD27A0-F25B-DF49-9781-60A1C8A4DCBA}"/>
                </a:ext>
              </a:extLst>
            </p:cNvPr>
            <p:cNvSpPr txBox="1">
              <a:spLocks/>
            </p:cNvSpPr>
            <p:nvPr/>
          </p:nvSpPr>
          <p:spPr>
            <a:xfrm>
              <a:off x="2001486" y="5068265"/>
              <a:ext cx="3707817" cy="1306526"/>
            </a:xfrm>
            <a:prstGeom prst="rect">
              <a:avLst/>
            </a:prstGeom>
          </p:spPr>
          <p:txBody>
            <a:bodyPr vert="horz" lIns="51435" tIns="25717" rIns="51435" bIns="2571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77">
                <a:buNone/>
              </a:pPr>
              <a:r>
                <a:rPr lang="en-US" sz="1575" b="1" dirty="0">
                  <a:solidFill>
                    <a:srgbClr val="E7542D"/>
                  </a:solidFill>
                  <a:latin typeface="Georgia" panose="02040502050405020303" pitchFamily="18" charset="0"/>
                </a:rPr>
                <a:t>NO COST TO RECIPIENTS</a:t>
              </a:r>
            </a:p>
            <a:p>
              <a:pPr marL="0" indent="0" algn="ctr" defTabSz="685777">
                <a:buNone/>
              </a:pPr>
              <a:r>
                <a:rPr lang="en-US" sz="2000" dirty="0">
                  <a:solidFill>
                    <a:srgbClr val="171B60"/>
                  </a:solidFill>
                  <a:latin typeface="Georgia" panose="02040502050405020303" pitchFamily="18" charset="0"/>
                </a:rPr>
                <a:t>As an eligible recipient, patients are not charged</a:t>
              </a:r>
            </a:p>
          </p:txBody>
        </p:sp>
        <p:sp>
          <p:nvSpPr>
            <p:cNvPr id="7" name="Content Placeholder 3">
              <a:extLst>
                <a:ext uri="{FF2B5EF4-FFF2-40B4-BE49-F238E27FC236}">
                  <a16:creationId xmlns:a16="http://schemas.microsoft.com/office/drawing/2014/main" id="{9B863618-FEE5-2D4B-A47F-8AA5792F309F}"/>
                </a:ext>
              </a:extLst>
            </p:cNvPr>
            <p:cNvSpPr txBox="1">
              <a:spLocks/>
            </p:cNvSpPr>
            <p:nvPr/>
          </p:nvSpPr>
          <p:spPr>
            <a:xfrm>
              <a:off x="6815283" y="5068265"/>
              <a:ext cx="3147747" cy="1407112"/>
            </a:xfrm>
            <a:prstGeom prst="rect">
              <a:avLst/>
            </a:prstGeom>
          </p:spPr>
          <p:txBody>
            <a:bodyPr vert="horz" lIns="51435" tIns="25717" rIns="51435" bIns="2571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777">
                <a:buNone/>
              </a:pPr>
              <a:r>
                <a:rPr lang="en-US" sz="1575" b="1" dirty="0">
                  <a:solidFill>
                    <a:srgbClr val="2D8CCC"/>
                  </a:solidFill>
                  <a:latin typeface="Georgia" panose="02040502050405020303" pitchFamily="18" charset="0"/>
                </a:rPr>
                <a:t>REGISTERED NURSE</a:t>
              </a:r>
            </a:p>
            <a:p>
              <a:pPr marL="0" indent="0" algn="ctr" defTabSz="685777">
                <a:buNone/>
              </a:pPr>
              <a:r>
                <a:rPr lang="en-US" sz="2000" dirty="0">
                  <a:solidFill>
                    <a:srgbClr val="171B60"/>
                  </a:solidFill>
                  <a:latin typeface="Georgia" panose="02040502050405020303" pitchFamily="18" charset="0"/>
                </a:rPr>
                <a:t>All visits are made by highly trained nurses</a:t>
              </a:r>
            </a:p>
          </p:txBody>
        </p:sp>
        <p:pic>
          <p:nvPicPr>
            <p:cNvPr id="8" name="Picture 7">
              <a:extLst>
                <a:ext uri="{FF2B5EF4-FFF2-40B4-BE49-F238E27FC236}">
                  <a16:creationId xmlns:a16="http://schemas.microsoft.com/office/drawing/2014/main" id="{6E20BC5B-CF02-9A47-9AE0-E2ACAA4BCD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04458" y="1543665"/>
              <a:ext cx="963791" cy="963791"/>
            </a:xfrm>
            <a:prstGeom prst="rect">
              <a:avLst/>
            </a:prstGeom>
            <a:solidFill>
              <a:schemeClr val="bg1"/>
            </a:solidFill>
          </p:spPr>
        </p:pic>
        <p:pic>
          <p:nvPicPr>
            <p:cNvPr id="9" name="Picture 8">
              <a:extLst>
                <a:ext uri="{FF2B5EF4-FFF2-40B4-BE49-F238E27FC236}">
                  <a16:creationId xmlns:a16="http://schemas.microsoft.com/office/drawing/2014/main" id="{45EFF1F1-F943-614D-A56E-C1F9534428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94649" y="3875384"/>
              <a:ext cx="957302" cy="957302"/>
            </a:xfrm>
            <a:prstGeom prst="rect">
              <a:avLst/>
            </a:prstGeom>
          </p:spPr>
        </p:pic>
        <p:pic>
          <p:nvPicPr>
            <p:cNvPr id="10" name="Picture 9">
              <a:extLst>
                <a:ext uri="{FF2B5EF4-FFF2-40B4-BE49-F238E27FC236}">
                  <a16:creationId xmlns:a16="http://schemas.microsoft.com/office/drawing/2014/main" id="{86F05351-D591-7C46-89D2-40B8FA9F143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0805" y="1543665"/>
              <a:ext cx="900113" cy="900113"/>
            </a:xfrm>
            <a:prstGeom prst="rect">
              <a:avLst/>
            </a:prstGeom>
          </p:spPr>
        </p:pic>
        <p:pic>
          <p:nvPicPr>
            <p:cNvPr id="11" name="Picture 10">
              <a:extLst>
                <a:ext uri="{FF2B5EF4-FFF2-40B4-BE49-F238E27FC236}">
                  <a16:creationId xmlns:a16="http://schemas.microsoft.com/office/drawing/2014/main" id="{F1DB0304-A41B-F341-B58C-A451C39AF6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62210" y="3875384"/>
              <a:ext cx="957302" cy="957302"/>
            </a:xfrm>
            <a:prstGeom prst="rect">
              <a:avLst/>
            </a:prstGeom>
            <a:noFill/>
          </p:spPr>
        </p:pic>
      </p:grpSp>
    </p:spTree>
    <p:extLst>
      <p:ext uri="{BB962C8B-B14F-4D97-AF65-F5344CB8AC3E}">
        <p14:creationId xmlns:p14="http://schemas.microsoft.com/office/powerpoint/2010/main" val="420637452"/>
      </p:ext>
    </p:extLst>
  </p:cSld>
  <p:clrMapOvr>
    <a:masterClrMapping/>
  </p:clrMapOvr>
  <mc:AlternateContent xmlns:mc="http://schemas.openxmlformats.org/markup-compatibility/2006" xmlns:p14="http://schemas.microsoft.com/office/powerpoint/2010/main">
    <mc:Choice Requires="p14">
      <p:transition spd="slow" p14:dur="2000" advTm="64091"/>
    </mc:Choice>
    <mc:Fallback xmlns="">
      <p:transition spd="slow" advTm="64091"/>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12E36-0092-4334-B6AB-F419EA0369E0}"/>
              </a:ext>
            </a:extLst>
          </p:cNvPr>
          <p:cNvSpPr>
            <a:spLocks noGrp="1"/>
          </p:cNvSpPr>
          <p:nvPr>
            <p:ph type="title"/>
          </p:nvPr>
        </p:nvSpPr>
        <p:spPr>
          <a:xfrm>
            <a:off x="1066800" y="0"/>
            <a:ext cx="10058400" cy="1609344"/>
          </a:xfrm>
        </p:spPr>
        <p:txBody>
          <a:bodyPr>
            <a:normAutofit/>
          </a:bodyPr>
          <a:lstStyle/>
          <a:p>
            <a:r>
              <a:rPr lang="en-US" sz="3600" dirty="0">
                <a:ea typeface="+mn-ea"/>
                <a:cs typeface="Arial" panose="020B0604020202020204" pitchFamily="34" charset="0"/>
              </a:rPr>
              <a:t>Family Connects Chicago: A Systems Solution</a:t>
            </a:r>
          </a:p>
        </p:txBody>
      </p:sp>
      <p:sp>
        <p:nvSpPr>
          <p:cNvPr id="6" name="Content Placeholder 5">
            <a:extLst>
              <a:ext uri="{FF2B5EF4-FFF2-40B4-BE49-F238E27FC236}">
                <a16:creationId xmlns:a16="http://schemas.microsoft.com/office/drawing/2014/main" id="{B4F06A26-48F2-44A5-87F7-E4459537ACA5}"/>
              </a:ext>
            </a:extLst>
          </p:cNvPr>
          <p:cNvSpPr>
            <a:spLocks noGrp="1"/>
          </p:cNvSpPr>
          <p:nvPr>
            <p:ph sz="half" idx="1"/>
          </p:nvPr>
        </p:nvSpPr>
        <p:spPr>
          <a:xfrm>
            <a:off x="5704863" y="1384314"/>
            <a:ext cx="5606265" cy="4972035"/>
          </a:xfrm>
        </p:spPr>
        <p:txBody>
          <a:bodyPr>
            <a:normAutofit/>
          </a:bodyPr>
          <a:lstStyle/>
          <a:p>
            <a:pPr fontAlgn="base">
              <a:lnSpc>
                <a:spcPct val="110000"/>
              </a:lnSpc>
              <a:spcAft>
                <a:spcPct val="0"/>
              </a:spcAft>
            </a:pPr>
            <a:endParaRPr lang="en-US" dirty="0"/>
          </a:p>
          <a:p>
            <a:pPr fontAlgn="base">
              <a:lnSpc>
                <a:spcPct val="110000"/>
              </a:lnSpc>
              <a:spcAft>
                <a:spcPct val="0"/>
              </a:spcAft>
            </a:pPr>
            <a:r>
              <a:rPr lang="en-US" dirty="0"/>
              <a:t>Home visit: </a:t>
            </a:r>
          </a:p>
          <a:p>
            <a:pPr lvl="1" fontAlgn="base">
              <a:lnSpc>
                <a:spcPct val="110000"/>
              </a:lnSpc>
              <a:spcAft>
                <a:spcPct val="0"/>
              </a:spcAft>
              <a:buFont typeface="Arial" panose="020B0604020202020204" pitchFamily="34" charset="0"/>
              <a:buChar char="•"/>
            </a:pPr>
            <a:r>
              <a:rPr lang="en-US" sz="2000" dirty="0"/>
              <a:t>Respond to immediate needs through brief interventions, education and support</a:t>
            </a:r>
          </a:p>
          <a:p>
            <a:pPr lvl="1" fontAlgn="base">
              <a:lnSpc>
                <a:spcPct val="110000"/>
              </a:lnSpc>
              <a:spcAft>
                <a:spcPct val="0"/>
              </a:spcAft>
              <a:buFont typeface="Arial" panose="020B0604020202020204" pitchFamily="34" charset="0"/>
              <a:buChar char="•"/>
            </a:pPr>
            <a:r>
              <a:rPr kumimoji="0" lang="en-US" sz="2000" b="0" i="0" u="none" strike="noStrike" kern="1200" cap="none" spc="0" normalizeH="0" baseline="0" noProof="0" dirty="0">
                <a:ln>
                  <a:noFill/>
                </a:ln>
                <a:solidFill>
                  <a:srgbClr val="080808"/>
                </a:solidFill>
                <a:effectLst/>
                <a:uLnTx/>
                <a:uFillTx/>
                <a:ea typeface="+mn-ea"/>
                <a:cs typeface="+mn-cs"/>
              </a:rPr>
              <a:t>Respond to longer term needs via referrals with warm hand off</a:t>
            </a:r>
          </a:p>
          <a:p>
            <a:pPr marL="256561" marR="0" lvl="0" indent="-256561" algn="l" defTabSz="342077" rtl="0" eaLnBrk="1" fontAlgn="base" latinLnBrk="0" hangingPunct="1">
              <a:lnSpc>
                <a:spcPct val="110000"/>
              </a:lnSpc>
              <a:spcBef>
                <a:spcPct val="20000"/>
              </a:spcBef>
              <a:spcAft>
                <a:spcPct val="0"/>
              </a:spcAft>
              <a:buClrTx/>
              <a:buSzTx/>
              <a:buFont typeface="Arial"/>
              <a:buChar char="•"/>
              <a:tabLst/>
              <a:defRPr/>
            </a:pPr>
            <a:endParaRPr kumimoji="0" lang="en-US" b="0" i="0" u="none" strike="noStrike" kern="1200" cap="none" spc="0" normalizeH="0" baseline="0" noProof="0" dirty="0">
              <a:ln>
                <a:noFill/>
              </a:ln>
              <a:solidFill>
                <a:srgbClr val="080808"/>
              </a:solidFill>
              <a:effectLst/>
              <a:uLnTx/>
              <a:uFillTx/>
              <a:ea typeface="+mn-ea"/>
              <a:cs typeface="+mn-cs"/>
            </a:endParaRPr>
          </a:p>
          <a:p>
            <a:pPr marL="256561" marR="0" lvl="0" indent="-256561" algn="l" defTabSz="342077" rtl="0" eaLnBrk="1" fontAlgn="base" latinLnBrk="0" hangingPunct="1">
              <a:lnSpc>
                <a:spcPct val="100000"/>
              </a:lnSpc>
              <a:spcBef>
                <a:spcPct val="20000"/>
              </a:spcBef>
              <a:spcAft>
                <a:spcPct val="0"/>
              </a:spcAft>
              <a:buClrTx/>
              <a:buSzTx/>
              <a:buFont typeface="Arial"/>
              <a:buChar char="•"/>
              <a:tabLst/>
              <a:defRPr/>
            </a:pPr>
            <a:r>
              <a:rPr kumimoji="0" lang="en-US" b="0" i="0" u="none" strike="noStrike" kern="1200" cap="none" spc="0" normalizeH="0" baseline="0" noProof="0" dirty="0">
                <a:ln>
                  <a:noFill/>
                </a:ln>
                <a:solidFill>
                  <a:srgbClr val="080808"/>
                </a:solidFill>
                <a:effectLst/>
                <a:uLnTx/>
                <a:uFillTx/>
                <a:ea typeface="+mn-ea"/>
                <a:cs typeface="+mn-cs"/>
              </a:rPr>
              <a:t>Data is tracked for both process and outcome measures at the city level through a web-based platform (Salesforce) and at Rush</a:t>
            </a:r>
          </a:p>
          <a:p>
            <a:pPr marL="256561" marR="0" lvl="0" indent="-256561" algn="l" defTabSz="342077" rtl="0" eaLnBrk="1" fontAlgn="base" latinLnBrk="0" hangingPunct="1">
              <a:lnSpc>
                <a:spcPct val="100000"/>
              </a:lnSpc>
              <a:spcBef>
                <a:spcPct val="20000"/>
              </a:spcBef>
              <a:spcAft>
                <a:spcPct val="0"/>
              </a:spcAft>
              <a:buClrTx/>
              <a:buSzTx/>
              <a:buFont typeface="Arial"/>
              <a:buChar char="•"/>
              <a:tabLst/>
              <a:defRPr/>
            </a:pPr>
            <a:endParaRPr kumimoji="0" lang="en-US" b="0" i="0" u="none" strike="noStrike" kern="1200" cap="none" spc="0" normalizeH="0" baseline="0" noProof="0" dirty="0">
              <a:ln>
                <a:noFill/>
              </a:ln>
              <a:solidFill>
                <a:srgbClr val="080808"/>
              </a:solidFill>
              <a:effectLst/>
              <a:uLnTx/>
              <a:uFillTx/>
              <a:ea typeface="+mn-ea"/>
              <a:cs typeface="+mn-cs"/>
            </a:endParaRPr>
          </a:p>
          <a:p>
            <a:pPr marL="256561" marR="0" lvl="0" indent="-256561" algn="l" defTabSz="342077" rtl="0" eaLnBrk="1" fontAlgn="base" latinLnBrk="0" hangingPunct="1">
              <a:lnSpc>
                <a:spcPct val="100000"/>
              </a:lnSpc>
              <a:spcBef>
                <a:spcPct val="20000"/>
              </a:spcBef>
              <a:spcAft>
                <a:spcPct val="0"/>
              </a:spcAft>
              <a:buClrTx/>
              <a:buSzTx/>
              <a:buFont typeface="Arial"/>
              <a:buChar char="•"/>
              <a:tabLst/>
              <a:defRPr/>
            </a:pPr>
            <a:r>
              <a:rPr kumimoji="0" lang="en-US" b="0" i="0" u="none" strike="noStrike" kern="1200" cap="none" spc="0" normalizeH="0" baseline="0" noProof="0" dirty="0">
                <a:ln>
                  <a:noFill/>
                </a:ln>
                <a:solidFill>
                  <a:srgbClr val="080808"/>
                </a:solidFill>
                <a:effectLst/>
                <a:uLnTx/>
                <a:uFillTx/>
                <a:ea typeface="+mn-ea"/>
                <a:cs typeface="+mn-cs"/>
              </a:rPr>
              <a:t>Identify gaps in community services and supports to improve resource allocation and inform policy</a:t>
            </a:r>
          </a:p>
          <a:p>
            <a:pPr marL="0" indent="0" fontAlgn="base">
              <a:spcAft>
                <a:spcPct val="0"/>
              </a:spcAft>
              <a:buNone/>
            </a:pPr>
            <a:endParaRPr lang="en-US" sz="7200" dirty="0"/>
          </a:p>
          <a:p>
            <a:endParaRPr lang="en-US" dirty="0"/>
          </a:p>
        </p:txBody>
      </p:sp>
      <p:sp>
        <p:nvSpPr>
          <p:cNvPr id="4" name="Slide Number Placeholder 3">
            <a:extLst>
              <a:ext uri="{FF2B5EF4-FFF2-40B4-BE49-F238E27FC236}">
                <a16:creationId xmlns:a16="http://schemas.microsoft.com/office/drawing/2014/main" id="{6E4440F7-FEB6-4E1B-8DAE-7D3FF386DFA2}"/>
              </a:ext>
            </a:extLst>
          </p:cNvPr>
          <p:cNvSpPr>
            <a:spLocks noGrp="1"/>
          </p:cNvSpPr>
          <p:nvPr>
            <p:ph type="sldNum" sz="quarter" idx="12"/>
          </p:nvPr>
        </p:nvSpPr>
        <p:spPr/>
        <p:txBody>
          <a:bodyP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fld id="{3FCCF984-64AA-42B4-8D2F-66BCDE3A50F4}" type="slidenum">
              <a:rPr kumimoji="0" lang="en-US" sz="1400" b="1" i="0" u="none" strike="noStrike" kern="1200" cap="none" spc="0" normalizeH="0" baseline="0" noProof="0" smtClean="0">
                <a:ln>
                  <a:noFill/>
                </a:ln>
                <a:solidFill>
                  <a:prstClr val="black"/>
                </a:solidFill>
                <a:effectLst/>
                <a:uLnTx/>
                <a:uFillTx/>
                <a:latin typeface="Big Shoulders Display"/>
                <a:ea typeface="+mn-ea"/>
                <a:cs typeface="+mn-cs"/>
              </a:rPr>
              <a:pPr marL="0" marR="0" lvl="0" indent="0" algn="ctr" defTabSz="457200" rtl="0" eaLnBrk="1" fontAlgn="auto" latinLnBrk="0" hangingPunct="1">
                <a:lnSpc>
                  <a:spcPct val="100000"/>
                </a:lnSpc>
                <a:spcBef>
                  <a:spcPts val="0"/>
                </a:spcBef>
                <a:spcAft>
                  <a:spcPts val="600"/>
                </a:spcAft>
                <a:buClrTx/>
                <a:buSzTx/>
                <a:buFontTx/>
                <a:buNone/>
                <a:tabLst/>
                <a:defRPr/>
              </a:pPr>
              <a:t>39</a:t>
            </a:fld>
            <a:endParaRPr kumimoji="0" lang="en-US" sz="1400" b="1" i="0" u="none" strike="noStrike" kern="1200" cap="none" spc="0" normalizeH="0" baseline="0" noProof="0">
              <a:ln>
                <a:noFill/>
              </a:ln>
              <a:solidFill>
                <a:prstClr val="black"/>
              </a:solidFill>
              <a:effectLst/>
              <a:uLnTx/>
              <a:uFillTx/>
              <a:latin typeface="Big Shoulders Display"/>
              <a:ea typeface="+mn-ea"/>
              <a:cs typeface="+mn-cs"/>
            </a:endParaRPr>
          </a:p>
        </p:txBody>
      </p:sp>
      <p:pic>
        <p:nvPicPr>
          <p:cNvPr id="5" name="Content Placeholder 4">
            <a:extLst>
              <a:ext uri="{FF2B5EF4-FFF2-40B4-BE49-F238E27FC236}">
                <a16:creationId xmlns:a16="http://schemas.microsoft.com/office/drawing/2014/main" id="{E2FCF566-F948-44BC-A2DB-CB47B0EBD89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01" r="7671" b="2"/>
          <a:stretch/>
        </p:blipFill>
        <p:spPr>
          <a:xfrm>
            <a:off x="679537" y="1939323"/>
            <a:ext cx="4773168" cy="3980688"/>
          </a:xfrm>
          <a:prstGeom prst="rect">
            <a:avLst/>
          </a:prstGeom>
        </p:spPr>
      </p:pic>
    </p:spTree>
    <p:extLst>
      <p:ext uri="{BB962C8B-B14F-4D97-AF65-F5344CB8AC3E}">
        <p14:creationId xmlns:p14="http://schemas.microsoft.com/office/powerpoint/2010/main" val="3447186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524000" y="-21431"/>
            <a:ext cx="9144000" cy="6858000"/>
          </a:xfrm>
          <a:custGeom>
            <a:avLst/>
            <a:gdLst/>
            <a:ahLst/>
            <a:cxnLst/>
            <a:rect l="l" t="t" r="r" b="b"/>
            <a:pathLst>
              <a:path w="9753600" h="7315200">
                <a:moveTo>
                  <a:pt x="0" y="0"/>
                </a:moveTo>
                <a:lnTo>
                  <a:pt x="9753600" y="0"/>
                </a:lnTo>
                <a:lnTo>
                  <a:pt x="9753600" y="7315200"/>
                </a:lnTo>
                <a:lnTo>
                  <a:pt x="0" y="7315200"/>
                </a:lnTo>
                <a:lnTo>
                  <a:pt x="0" y="0"/>
                </a:lnTo>
                <a:close/>
              </a:path>
            </a:pathLst>
          </a:custGeom>
          <a:blipFill>
            <a:blip r:embed="rId2"/>
            <a:stretch>
              <a:fillRect l="-25125" r="-25125"/>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p:cNvSpPr/>
          <p:nvPr/>
        </p:nvSpPr>
        <p:spPr>
          <a:xfrm>
            <a:off x="8366398" y="5946598"/>
            <a:ext cx="1615802" cy="451205"/>
          </a:xfrm>
          <a:custGeom>
            <a:avLst/>
            <a:gdLst/>
            <a:ahLst/>
            <a:cxnLst/>
            <a:rect l="l" t="t" r="r" b="b"/>
            <a:pathLst>
              <a:path w="1723522" h="481285">
                <a:moveTo>
                  <a:pt x="0" y="0"/>
                </a:moveTo>
                <a:lnTo>
                  <a:pt x="1723522" y="0"/>
                </a:lnTo>
                <a:lnTo>
                  <a:pt x="1723522" y="481286"/>
                </a:lnTo>
                <a:lnTo>
                  <a:pt x="0" y="481286"/>
                </a:lnTo>
                <a:lnTo>
                  <a:pt x="0" y="0"/>
                </a:lnTo>
                <a:close/>
              </a:path>
            </a:pathLst>
          </a:custGeom>
          <a:blipFill>
            <a:blip r:embed="rId3"/>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4"/>
          <p:cNvSpPr/>
          <p:nvPr/>
        </p:nvSpPr>
        <p:spPr>
          <a:xfrm>
            <a:off x="8306255" y="1593127"/>
            <a:ext cx="2027859" cy="2199847"/>
          </a:xfrm>
          <a:custGeom>
            <a:avLst/>
            <a:gdLst/>
            <a:ahLst/>
            <a:cxnLst/>
            <a:rect l="l" t="t" r="r" b="b"/>
            <a:pathLst>
              <a:path w="2163050" h="2346503">
                <a:moveTo>
                  <a:pt x="0" y="0"/>
                </a:moveTo>
                <a:lnTo>
                  <a:pt x="2163049" y="0"/>
                </a:lnTo>
                <a:lnTo>
                  <a:pt x="2163049" y="2346503"/>
                </a:lnTo>
                <a:lnTo>
                  <a:pt x="0" y="23465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5"/>
          <p:cNvGrpSpPr/>
          <p:nvPr/>
        </p:nvGrpSpPr>
        <p:grpSpPr>
          <a:xfrm>
            <a:off x="1684478" y="336467"/>
            <a:ext cx="8823046" cy="1179601"/>
            <a:chOff x="0" y="0"/>
            <a:chExt cx="12548332" cy="1677655"/>
          </a:xfrm>
        </p:grpSpPr>
        <p:sp>
          <p:nvSpPr>
            <p:cNvPr id="6" name="Freeform 6"/>
            <p:cNvSpPr/>
            <p:nvPr/>
          </p:nvSpPr>
          <p:spPr>
            <a:xfrm>
              <a:off x="0" y="0"/>
              <a:ext cx="12548332" cy="1677655"/>
            </a:xfrm>
            <a:custGeom>
              <a:avLst/>
              <a:gdLst/>
              <a:ahLst/>
              <a:cxnLst/>
              <a:rect l="l" t="t" r="r" b="b"/>
              <a:pathLst>
                <a:path w="12548332" h="1677655">
                  <a:moveTo>
                    <a:pt x="0" y="0"/>
                  </a:moveTo>
                  <a:lnTo>
                    <a:pt x="12548332" y="0"/>
                  </a:lnTo>
                  <a:lnTo>
                    <a:pt x="12548332" y="1677655"/>
                  </a:lnTo>
                  <a:lnTo>
                    <a:pt x="0" y="1677655"/>
                  </a:lnTo>
                  <a:lnTo>
                    <a:pt x="0" y="0"/>
                  </a:lnTo>
                  <a:close/>
                </a:path>
              </a:pathLst>
            </a:custGeom>
            <a:blipFill>
              <a:blip r:embed="rId6">
                <a:extLst>
                  <a:ext uri="{96DAC541-7B7A-43D3-8B79-37D633B846F1}">
                    <asvg:svgBlip xmlns:asvg="http://schemas.microsoft.com/office/drawing/2016/SVG/main" r:embed="rId7"/>
                  </a:ext>
                </a:extLst>
              </a:blip>
              <a:stretch>
                <a:fillRect t="-56852" b="-56852"/>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1058529" y="301039"/>
              <a:ext cx="10431273" cy="565397"/>
            </a:xfrm>
            <a:prstGeom prst="rect">
              <a:avLst/>
            </a:prstGeom>
          </p:spPr>
          <p:txBody>
            <a:bodyPr lIns="0" tIns="0" rIns="0" bIns="0" rtlCol="0" anchor="t">
              <a:spAutoFit/>
            </a:bodyPr>
            <a:lstStyle/>
            <a:p>
              <a:pPr marL="0" marR="0" lvl="0" indent="0" algn="ctr" defTabSz="857250" rtl="0" eaLnBrk="1" fontAlgn="auto" latinLnBrk="0" hangingPunct="1">
                <a:lnSpc>
                  <a:spcPts val="3054"/>
                </a:lnSpc>
                <a:spcBef>
                  <a:spcPct val="0"/>
                </a:spcBef>
                <a:spcAft>
                  <a:spcPts val="0"/>
                </a:spcAft>
                <a:buClrTx/>
                <a:buSzTx/>
                <a:buFontTx/>
                <a:buNone/>
                <a:tabLst/>
                <a:defRPr/>
              </a:pPr>
              <a:r>
                <a:rPr kumimoji="0" lang="en-US" sz="2349" b="0" i="0" u="none" strike="noStrike" kern="1200" cap="none" spc="47" normalizeH="0" baseline="0" noProof="0" dirty="0">
                  <a:ln>
                    <a:noFill/>
                  </a:ln>
                  <a:solidFill>
                    <a:srgbClr val="FFFFFF"/>
                  </a:solidFill>
                  <a:effectLst/>
                  <a:uLnTx/>
                  <a:uFillTx/>
                  <a:latin typeface="Rubik Semi-Bold"/>
                  <a:ea typeface="+mn-ea"/>
                  <a:cs typeface="+mn-cs"/>
                </a:rPr>
                <a:t>ROLE OF A COMMUNITY-BASED DOULA</a:t>
              </a:r>
            </a:p>
          </p:txBody>
        </p:sp>
      </p:grpSp>
      <p:sp>
        <p:nvSpPr>
          <p:cNvPr id="10" name="TextBox 10"/>
          <p:cNvSpPr txBox="1"/>
          <p:nvPr/>
        </p:nvSpPr>
        <p:spPr>
          <a:xfrm>
            <a:off x="1684478" y="1682115"/>
            <a:ext cx="5197335" cy="5173789"/>
          </a:xfrm>
          <a:prstGeom prst="rect">
            <a:avLst/>
          </a:prstGeom>
        </p:spPr>
        <p:txBody>
          <a:bodyPr wrap="square" lIns="0" tIns="0" rIns="0" bIns="0" rtlCol="0" anchor="t">
            <a:spAutoFit/>
          </a:bodyPr>
          <a:lstStyle/>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Non-clinical Do NOT Diagnose</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Work as part of a team</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Emotional &amp; physical support</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Education &amp; Information</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Link to referral</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Bridge to systems &amp; resources </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Cultural relevant support in their language</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Listen, Affirm, Non-</a:t>
            </a:r>
            <a:r>
              <a:rPr kumimoji="0" lang="en-US" sz="2062" b="0" i="0" u="none" strike="noStrike" kern="1200" cap="none" spc="2" normalizeH="0" baseline="0" noProof="0" dirty="0" err="1">
                <a:ln>
                  <a:noFill/>
                </a:ln>
                <a:solidFill>
                  <a:srgbClr val="472049"/>
                </a:solidFill>
                <a:effectLst/>
                <a:uLnTx/>
                <a:uFillTx/>
                <a:latin typeface="Rubik Bold"/>
                <a:ea typeface="+mn-ea"/>
                <a:cs typeface="+mn-cs"/>
              </a:rPr>
              <a:t>judgemental</a:t>
            </a:r>
            <a:r>
              <a:rPr kumimoji="0" lang="en-US" sz="2062" b="0" i="0" u="none" strike="noStrike" kern="1200" cap="none" spc="2" normalizeH="0" baseline="0" noProof="0" dirty="0">
                <a:ln>
                  <a:noFill/>
                </a:ln>
                <a:solidFill>
                  <a:srgbClr val="472049"/>
                </a:solidFill>
                <a:effectLst/>
                <a:uLnTx/>
                <a:uFillTx/>
                <a:latin typeface="Rubik Bold"/>
                <a:ea typeface="+mn-ea"/>
                <a:cs typeface="+mn-cs"/>
              </a:rPr>
              <a:t> support</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Facilitate classes &amp; Support Group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62" b="0" i="0" u="none" strike="noStrike" kern="1200" cap="none" spc="2" normalizeH="0" baseline="0" noProof="0" dirty="0">
                <a:ln>
                  <a:noFill/>
                </a:ln>
                <a:solidFill>
                  <a:srgbClr val="472049"/>
                </a:solidFill>
                <a:effectLst/>
                <a:uLnTx/>
                <a:uFillTx/>
                <a:latin typeface="Rubik Bold"/>
                <a:ea typeface="+mn-ea"/>
                <a:cs typeface="+mn-cs"/>
              </a:rPr>
              <a:t>Offer support via home visits, clinic, or virtual</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lang="en-US" sz="2062" spc="2" dirty="0">
                <a:solidFill>
                  <a:srgbClr val="472049"/>
                </a:solidFill>
                <a:latin typeface="Rubik Bold"/>
              </a:rPr>
              <a:t>Support during pregnancy, delivery &amp; postpartum</a:t>
            </a:r>
            <a:endParaRPr kumimoji="0" lang="en-US" sz="2062" b="0" i="0" u="none" strike="noStrike" kern="1200" cap="none" spc="2" normalizeH="0" baseline="0" noProof="0" dirty="0">
              <a:ln>
                <a:noFill/>
              </a:ln>
              <a:solidFill>
                <a:srgbClr val="472049"/>
              </a:solidFill>
              <a:effectLst/>
              <a:uLnTx/>
              <a:uFillTx/>
              <a:latin typeface="Rubik Bold"/>
              <a:ea typeface="+mn-ea"/>
              <a:cs typeface="+mn-cs"/>
            </a:endParaRPr>
          </a:p>
        </p:txBody>
      </p:sp>
    </p:spTree>
    <p:extLst>
      <p:ext uri="{BB962C8B-B14F-4D97-AF65-F5344CB8AC3E}">
        <p14:creationId xmlns:p14="http://schemas.microsoft.com/office/powerpoint/2010/main" val="38327816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A2CEDA9E-14E3-440F-B6E3-FAEE6C50E91D}"/>
              </a:ext>
            </a:extLst>
          </p:cNvPr>
          <p:cNvSpPr>
            <a:spLocks/>
          </p:cNvSpPr>
          <p:nvPr/>
        </p:nvSpPr>
        <p:spPr bwMode="auto">
          <a:xfrm>
            <a:off x="2406066" y="269135"/>
            <a:ext cx="71718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2400" dirty="0">
                <a:solidFill>
                  <a:srgbClr val="002060"/>
                </a:solidFill>
                <a:latin typeface="Majesti Banner" charset="0"/>
                <a:ea typeface="Majesti Banner" charset="0"/>
                <a:cs typeface="Majesti Banner" charset="0"/>
                <a:sym typeface="Bebas Neue" charset="0"/>
              </a:rPr>
              <a:t>At </a:t>
            </a:r>
            <a:r>
              <a:rPr lang="en-US" sz="2400" dirty="0">
                <a:solidFill>
                  <a:srgbClr val="FF0000"/>
                </a:solidFill>
                <a:latin typeface="Majesti Banner" charset="0"/>
                <a:ea typeface="Majesti Banner" charset="0"/>
                <a:cs typeface="Majesti Banner" charset="0"/>
                <a:sym typeface="Bebas Neue" charset="0"/>
              </a:rPr>
              <a:t>Rush: How Does a Family Experience the Model?</a:t>
            </a:r>
          </a:p>
        </p:txBody>
      </p:sp>
      <p:pic>
        <p:nvPicPr>
          <p:cNvPr id="8" name="Picture 7">
            <a:extLst>
              <a:ext uri="{FF2B5EF4-FFF2-40B4-BE49-F238E27FC236}">
                <a16:creationId xmlns:a16="http://schemas.microsoft.com/office/drawing/2014/main" id="{10FB5EEE-79FA-D443-A25F-6FCA8DC41D7A}"/>
              </a:ext>
            </a:extLst>
          </p:cNvPr>
          <p:cNvPicPr/>
          <p:nvPr/>
        </p:nvPicPr>
        <p:blipFill rotWithShape="1">
          <a:blip r:embed="rId3" cstate="email">
            <a:biLevel thresh="75000"/>
            <a:extLst>
              <a:ext uri="{28A0092B-C50C-407E-A947-70E740481C1C}">
                <a14:useLocalDpi xmlns:a14="http://schemas.microsoft.com/office/drawing/2010/main"/>
              </a:ext>
            </a:extLst>
          </a:blip>
          <a:srcRect l="64115"/>
          <a:stretch/>
        </p:blipFill>
        <p:spPr>
          <a:xfrm>
            <a:off x="2231499" y="1801103"/>
            <a:ext cx="468080" cy="678814"/>
          </a:xfrm>
          <a:prstGeom prst="rect">
            <a:avLst/>
          </a:prstGeom>
        </p:spPr>
      </p:pic>
      <p:sp>
        <p:nvSpPr>
          <p:cNvPr id="3" name="TextBox 2">
            <a:extLst>
              <a:ext uri="{FF2B5EF4-FFF2-40B4-BE49-F238E27FC236}">
                <a16:creationId xmlns:a16="http://schemas.microsoft.com/office/drawing/2014/main" id="{4249FF92-5F83-D94E-A633-95A7D7C47910}"/>
              </a:ext>
            </a:extLst>
          </p:cNvPr>
          <p:cNvSpPr txBox="1"/>
          <p:nvPr/>
        </p:nvSpPr>
        <p:spPr>
          <a:xfrm>
            <a:off x="2048655" y="1259174"/>
            <a:ext cx="1146276" cy="369332"/>
          </a:xfrm>
          <a:prstGeom prst="rect">
            <a:avLst/>
          </a:prstGeom>
          <a:noFill/>
        </p:spPr>
        <p:txBody>
          <a:bodyPr wrap="none" rtlCol="0">
            <a:spAutoFit/>
          </a:bodyPr>
          <a:lstStyle/>
          <a:p>
            <a:r>
              <a:rPr lang="en-US" b="1" dirty="0">
                <a:solidFill>
                  <a:srgbClr val="000000"/>
                </a:solidFill>
              </a:rPr>
              <a:t>Pre-natal</a:t>
            </a:r>
          </a:p>
        </p:txBody>
      </p:sp>
      <p:cxnSp>
        <p:nvCxnSpPr>
          <p:cNvPr id="5" name="Straight Arrow Connector 4">
            <a:extLst>
              <a:ext uri="{FF2B5EF4-FFF2-40B4-BE49-F238E27FC236}">
                <a16:creationId xmlns:a16="http://schemas.microsoft.com/office/drawing/2014/main" id="{1A2A4C37-29FD-294C-8598-3013C220EF86}"/>
              </a:ext>
            </a:extLst>
          </p:cNvPr>
          <p:cNvCxnSpPr>
            <a:cxnSpLocks/>
          </p:cNvCxnSpPr>
          <p:nvPr/>
        </p:nvCxnSpPr>
        <p:spPr>
          <a:xfrm flipH="1">
            <a:off x="2454951" y="1483883"/>
            <a:ext cx="6028" cy="235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3789E64-C6A4-4541-9609-A5CEBB058452}"/>
              </a:ext>
            </a:extLst>
          </p:cNvPr>
          <p:cNvPicPr/>
          <p:nvPr/>
        </p:nvPicPr>
        <p:blipFill>
          <a:blip r:embed="rId3" cstate="email">
            <a:biLevel thresh="75000"/>
            <a:extLst>
              <a:ext uri="{28A0092B-C50C-407E-A947-70E740481C1C}">
                <a14:useLocalDpi xmlns:a14="http://schemas.microsoft.com/office/drawing/2010/main"/>
              </a:ext>
            </a:extLst>
          </a:blip>
          <a:stretch>
            <a:fillRect/>
          </a:stretch>
        </p:blipFill>
        <p:spPr>
          <a:xfrm>
            <a:off x="5443801" y="1798804"/>
            <a:ext cx="1304398" cy="678814"/>
          </a:xfrm>
          <a:prstGeom prst="rect">
            <a:avLst/>
          </a:prstGeom>
        </p:spPr>
      </p:pic>
      <p:sp>
        <p:nvSpPr>
          <p:cNvPr id="13" name="TextBox 12">
            <a:extLst>
              <a:ext uri="{FF2B5EF4-FFF2-40B4-BE49-F238E27FC236}">
                <a16:creationId xmlns:a16="http://schemas.microsoft.com/office/drawing/2014/main" id="{DD92CCC0-8A4B-2047-8088-213009BCF9C3}"/>
              </a:ext>
            </a:extLst>
          </p:cNvPr>
          <p:cNvSpPr txBox="1"/>
          <p:nvPr/>
        </p:nvSpPr>
        <p:spPr>
          <a:xfrm>
            <a:off x="3445239" y="1259174"/>
            <a:ext cx="689612" cy="369332"/>
          </a:xfrm>
          <a:prstGeom prst="rect">
            <a:avLst/>
          </a:prstGeom>
          <a:noFill/>
        </p:spPr>
        <p:txBody>
          <a:bodyPr wrap="none" rtlCol="0">
            <a:spAutoFit/>
          </a:bodyPr>
          <a:lstStyle/>
          <a:p>
            <a:r>
              <a:rPr lang="en-US" b="1" dirty="0">
                <a:solidFill>
                  <a:srgbClr val="000000"/>
                </a:solidFill>
              </a:rPr>
              <a:t>Birth</a:t>
            </a:r>
          </a:p>
        </p:txBody>
      </p:sp>
      <p:pic>
        <p:nvPicPr>
          <p:cNvPr id="14" name="Picture 13">
            <a:extLst>
              <a:ext uri="{FF2B5EF4-FFF2-40B4-BE49-F238E27FC236}">
                <a16:creationId xmlns:a16="http://schemas.microsoft.com/office/drawing/2014/main" id="{87C41013-D4C1-C943-BD35-033A7CA527E1}"/>
              </a:ext>
            </a:extLst>
          </p:cNvPr>
          <p:cNvPicPr/>
          <p:nvPr/>
        </p:nvPicPr>
        <p:blipFill rotWithShape="1">
          <a:blip r:embed="rId4" cstate="email">
            <a:biLevel thresh="75000"/>
            <a:extLst>
              <a:ext uri="{28A0092B-C50C-407E-A947-70E740481C1C}">
                <a14:useLocalDpi xmlns:a14="http://schemas.microsoft.com/office/drawing/2010/main"/>
              </a:ext>
            </a:extLst>
          </a:blip>
          <a:srcRect r="58683"/>
          <a:stretch/>
        </p:blipFill>
        <p:spPr>
          <a:xfrm>
            <a:off x="3445239" y="1801103"/>
            <a:ext cx="538930" cy="678814"/>
          </a:xfrm>
          <a:prstGeom prst="rect">
            <a:avLst/>
          </a:prstGeom>
        </p:spPr>
      </p:pic>
      <p:sp>
        <p:nvSpPr>
          <p:cNvPr id="6" name="Oval 5">
            <a:extLst>
              <a:ext uri="{FF2B5EF4-FFF2-40B4-BE49-F238E27FC236}">
                <a16:creationId xmlns:a16="http://schemas.microsoft.com/office/drawing/2014/main" id="{D7F13AFC-7CCF-C046-891D-62B3596FE954}"/>
              </a:ext>
            </a:extLst>
          </p:cNvPr>
          <p:cNvSpPr/>
          <p:nvPr/>
        </p:nvSpPr>
        <p:spPr>
          <a:xfrm>
            <a:off x="3901794" y="1997294"/>
            <a:ext cx="257611" cy="2264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3F43ACCC-DA0F-3641-B46D-5919D3750ADC}"/>
              </a:ext>
            </a:extLst>
          </p:cNvPr>
          <p:cNvCxnSpPr>
            <a:cxnSpLocks/>
          </p:cNvCxnSpPr>
          <p:nvPr/>
        </p:nvCxnSpPr>
        <p:spPr>
          <a:xfrm flipH="1">
            <a:off x="3704116" y="1501022"/>
            <a:ext cx="6028" cy="235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1E2007F-9C90-F541-B8CC-583FE6C86592}"/>
              </a:ext>
            </a:extLst>
          </p:cNvPr>
          <p:cNvSpPr txBox="1"/>
          <p:nvPr/>
        </p:nvSpPr>
        <p:spPr>
          <a:xfrm>
            <a:off x="1868774" y="2803161"/>
            <a:ext cx="1304398" cy="738664"/>
          </a:xfrm>
          <a:prstGeom prst="rect">
            <a:avLst/>
          </a:prstGeom>
          <a:noFill/>
        </p:spPr>
        <p:txBody>
          <a:bodyPr wrap="square" rtlCol="0">
            <a:spAutoFit/>
          </a:bodyPr>
          <a:lstStyle/>
          <a:p>
            <a:r>
              <a:rPr lang="en-US" sz="1400" dirty="0">
                <a:solidFill>
                  <a:srgbClr val="000000"/>
                </a:solidFill>
              </a:rPr>
              <a:t>Flyers in </a:t>
            </a:r>
            <a:r>
              <a:rPr lang="en-US" sz="1400" dirty="0"/>
              <a:t>prenatal clinics</a:t>
            </a:r>
          </a:p>
        </p:txBody>
      </p:sp>
      <p:sp>
        <p:nvSpPr>
          <p:cNvPr id="23" name="TextBox 22">
            <a:extLst>
              <a:ext uri="{FF2B5EF4-FFF2-40B4-BE49-F238E27FC236}">
                <a16:creationId xmlns:a16="http://schemas.microsoft.com/office/drawing/2014/main" id="{D1294E84-AC81-3E47-B68D-A8D30A74C755}"/>
              </a:ext>
            </a:extLst>
          </p:cNvPr>
          <p:cNvSpPr txBox="1"/>
          <p:nvPr/>
        </p:nvSpPr>
        <p:spPr>
          <a:xfrm>
            <a:off x="3175924" y="2787369"/>
            <a:ext cx="1756684" cy="2800767"/>
          </a:xfrm>
          <a:prstGeom prst="rect">
            <a:avLst/>
          </a:prstGeom>
          <a:noFill/>
        </p:spPr>
        <p:txBody>
          <a:bodyPr wrap="square" rtlCol="0">
            <a:spAutoFit/>
          </a:bodyPr>
          <a:lstStyle/>
          <a:p>
            <a:r>
              <a:rPr lang="en-US" sz="1600" dirty="0">
                <a:solidFill>
                  <a:srgbClr val="000000"/>
                </a:solidFill>
              </a:rPr>
              <a:t>Family Connects staff member visits patients at bedside to introduce the program and </a:t>
            </a:r>
            <a:r>
              <a:rPr lang="en-US" sz="1600" dirty="0"/>
              <a:t>schedule a visit. </a:t>
            </a:r>
          </a:p>
          <a:p>
            <a:endParaRPr lang="en-US" sz="1600" dirty="0">
              <a:solidFill>
                <a:schemeClr val="accent1"/>
              </a:solidFill>
            </a:endParaRPr>
          </a:p>
          <a:p>
            <a:r>
              <a:rPr lang="en-US" sz="1600" dirty="0">
                <a:solidFill>
                  <a:srgbClr val="000000"/>
                </a:solidFill>
              </a:rPr>
              <a:t>Flyers in all patient rooms; included in the Welcome Booklet.</a:t>
            </a:r>
          </a:p>
        </p:txBody>
      </p:sp>
      <p:sp>
        <p:nvSpPr>
          <p:cNvPr id="24" name="TextBox 23">
            <a:extLst>
              <a:ext uri="{FF2B5EF4-FFF2-40B4-BE49-F238E27FC236}">
                <a16:creationId xmlns:a16="http://schemas.microsoft.com/office/drawing/2014/main" id="{613A3426-B188-F347-81A1-C0C964025EAC}"/>
              </a:ext>
            </a:extLst>
          </p:cNvPr>
          <p:cNvSpPr txBox="1"/>
          <p:nvPr/>
        </p:nvSpPr>
        <p:spPr>
          <a:xfrm>
            <a:off x="5595635" y="1286855"/>
            <a:ext cx="1334020" cy="369332"/>
          </a:xfrm>
          <a:prstGeom prst="rect">
            <a:avLst/>
          </a:prstGeom>
          <a:noFill/>
        </p:spPr>
        <p:txBody>
          <a:bodyPr wrap="none" rtlCol="0">
            <a:spAutoFit/>
          </a:bodyPr>
          <a:lstStyle/>
          <a:p>
            <a:r>
              <a:rPr lang="en-US" b="1" dirty="0">
                <a:solidFill>
                  <a:srgbClr val="000000"/>
                </a:solidFill>
              </a:rPr>
              <a:t>Home Visit</a:t>
            </a:r>
          </a:p>
        </p:txBody>
      </p:sp>
      <p:cxnSp>
        <p:nvCxnSpPr>
          <p:cNvPr id="25" name="Straight Arrow Connector 24">
            <a:extLst>
              <a:ext uri="{FF2B5EF4-FFF2-40B4-BE49-F238E27FC236}">
                <a16:creationId xmlns:a16="http://schemas.microsoft.com/office/drawing/2014/main" id="{655340B0-425C-9E49-8253-3C3613A9B7DC}"/>
              </a:ext>
            </a:extLst>
          </p:cNvPr>
          <p:cNvCxnSpPr>
            <a:cxnSpLocks/>
          </p:cNvCxnSpPr>
          <p:nvPr/>
        </p:nvCxnSpPr>
        <p:spPr>
          <a:xfrm flipH="1">
            <a:off x="6074675" y="1548053"/>
            <a:ext cx="6028" cy="235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26A7119-4E48-EA44-BB8A-4109DEF6AFF6}"/>
              </a:ext>
            </a:extLst>
          </p:cNvPr>
          <p:cNvSpPr txBox="1"/>
          <p:nvPr/>
        </p:nvSpPr>
        <p:spPr>
          <a:xfrm>
            <a:off x="5061397" y="2787370"/>
            <a:ext cx="2650284" cy="1600438"/>
          </a:xfrm>
          <a:prstGeom prst="rect">
            <a:avLst/>
          </a:prstGeom>
          <a:noFill/>
        </p:spPr>
        <p:txBody>
          <a:bodyPr wrap="square" rtlCol="0">
            <a:spAutoFit/>
          </a:bodyPr>
          <a:lstStyle/>
          <a:p>
            <a:r>
              <a:rPr lang="en-US" sz="1400" dirty="0">
                <a:solidFill>
                  <a:srgbClr val="000000"/>
                </a:solidFill>
              </a:rPr>
              <a:t>Assigned nurse confirms the visit on the day of and sends screeners (EPDS, ACEs, CAGE) via Redcap.</a:t>
            </a:r>
          </a:p>
          <a:p>
            <a:endParaRPr lang="en-US" sz="1400" dirty="0">
              <a:solidFill>
                <a:srgbClr val="000000"/>
              </a:solidFill>
            </a:endParaRPr>
          </a:p>
          <a:p>
            <a:r>
              <a:rPr lang="en-US" sz="1400" dirty="0">
                <a:solidFill>
                  <a:srgbClr val="000000"/>
                </a:solidFill>
              </a:rPr>
              <a:t>Completes the </a:t>
            </a:r>
            <a:r>
              <a:rPr lang="en-US" sz="1400" dirty="0"/>
              <a:t>2-hour visit </a:t>
            </a:r>
            <a:r>
              <a:rPr lang="en-US" sz="1400" dirty="0">
                <a:solidFill>
                  <a:srgbClr val="000000"/>
                </a:solidFill>
              </a:rPr>
              <a:t>(in home or virtual)</a:t>
            </a:r>
          </a:p>
          <a:p>
            <a:endParaRPr lang="en-US" sz="1400" dirty="0">
              <a:solidFill>
                <a:srgbClr val="000000"/>
              </a:solidFill>
              <a:latin typeface="Majesti Banner Book" panose="02000000000000000000" pitchFamily="2" charset="77"/>
            </a:endParaRPr>
          </a:p>
        </p:txBody>
      </p:sp>
      <p:pic>
        <p:nvPicPr>
          <p:cNvPr id="27" name="Picture 26">
            <a:extLst>
              <a:ext uri="{FF2B5EF4-FFF2-40B4-BE49-F238E27FC236}">
                <a16:creationId xmlns:a16="http://schemas.microsoft.com/office/drawing/2014/main" id="{A339CEE0-7BA7-804E-8F35-93E74CD88F25}"/>
              </a:ext>
            </a:extLst>
          </p:cNvPr>
          <p:cNvPicPr/>
          <p:nvPr/>
        </p:nvPicPr>
        <p:blipFill>
          <a:blip r:embed="rId3" cstate="email">
            <a:biLevel thresh="75000"/>
            <a:extLst>
              <a:ext uri="{28A0092B-C50C-407E-A947-70E740481C1C}">
                <a14:useLocalDpi xmlns:a14="http://schemas.microsoft.com/office/drawing/2010/main"/>
              </a:ext>
            </a:extLst>
          </a:blip>
          <a:stretch>
            <a:fillRect/>
          </a:stretch>
        </p:blipFill>
        <p:spPr>
          <a:xfrm>
            <a:off x="8262588" y="1803953"/>
            <a:ext cx="1304398" cy="678814"/>
          </a:xfrm>
          <a:prstGeom prst="rect">
            <a:avLst/>
          </a:prstGeom>
        </p:spPr>
      </p:pic>
      <p:sp>
        <p:nvSpPr>
          <p:cNvPr id="28" name="TextBox 27">
            <a:extLst>
              <a:ext uri="{FF2B5EF4-FFF2-40B4-BE49-F238E27FC236}">
                <a16:creationId xmlns:a16="http://schemas.microsoft.com/office/drawing/2014/main" id="{EF091A23-B8D0-2A41-A5B4-D7778672466F}"/>
              </a:ext>
            </a:extLst>
          </p:cNvPr>
          <p:cNvSpPr txBox="1"/>
          <p:nvPr/>
        </p:nvSpPr>
        <p:spPr>
          <a:xfrm>
            <a:off x="8261692" y="1286855"/>
            <a:ext cx="1785682" cy="369332"/>
          </a:xfrm>
          <a:prstGeom prst="rect">
            <a:avLst/>
          </a:prstGeom>
          <a:noFill/>
        </p:spPr>
        <p:txBody>
          <a:bodyPr wrap="none" rtlCol="0">
            <a:spAutoFit/>
          </a:bodyPr>
          <a:lstStyle/>
          <a:p>
            <a:r>
              <a:rPr lang="en-US" b="1" dirty="0">
                <a:solidFill>
                  <a:srgbClr val="000000"/>
                </a:solidFill>
              </a:rPr>
              <a:t>Warm Hand Off</a:t>
            </a:r>
          </a:p>
        </p:txBody>
      </p:sp>
      <p:sp>
        <p:nvSpPr>
          <p:cNvPr id="29" name="TextBox 28">
            <a:extLst>
              <a:ext uri="{FF2B5EF4-FFF2-40B4-BE49-F238E27FC236}">
                <a16:creationId xmlns:a16="http://schemas.microsoft.com/office/drawing/2014/main" id="{D5847712-702C-4C4C-96F7-AED31C462FDC}"/>
              </a:ext>
            </a:extLst>
          </p:cNvPr>
          <p:cNvSpPr txBox="1"/>
          <p:nvPr/>
        </p:nvSpPr>
        <p:spPr>
          <a:xfrm>
            <a:off x="7711681" y="2761386"/>
            <a:ext cx="2416674" cy="2246769"/>
          </a:xfrm>
          <a:prstGeom prst="rect">
            <a:avLst/>
          </a:prstGeom>
          <a:noFill/>
        </p:spPr>
        <p:txBody>
          <a:bodyPr wrap="square" rtlCol="0">
            <a:spAutoFit/>
          </a:bodyPr>
          <a:lstStyle/>
          <a:p>
            <a:r>
              <a:rPr lang="en-US" sz="1400" dirty="0">
                <a:solidFill>
                  <a:srgbClr val="000000"/>
                </a:solidFill>
              </a:rPr>
              <a:t>For most families, telephone contact 1-2 weeks following visit is enough – but second and third visits are offered as needed </a:t>
            </a:r>
          </a:p>
          <a:p>
            <a:endParaRPr lang="en-US" sz="1400" dirty="0">
              <a:solidFill>
                <a:srgbClr val="000000"/>
              </a:solidFill>
            </a:endParaRPr>
          </a:p>
          <a:p>
            <a:r>
              <a:rPr lang="en-US" sz="1400" dirty="0">
                <a:solidFill>
                  <a:srgbClr val="000000"/>
                </a:solidFill>
              </a:rPr>
              <a:t>Post-visit telephone call 1 month later to check on use of and satisfaction with community referrals</a:t>
            </a:r>
          </a:p>
        </p:txBody>
      </p:sp>
      <p:cxnSp>
        <p:nvCxnSpPr>
          <p:cNvPr id="30" name="Straight Arrow Connector 29">
            <a:extLst>
              <a:ext uri="{FF2B5EF4-FFF2-40B4-BE49-F238E27FC236}">
                <a16:creationId xmlns:a16="http://schemas.microsoft.com/office/drawing/2014/main" id="{5F4D212B-38C7-6B4C-858F-8777AA5706F0}"/>
              </a:ext>
            </a:extLst>
          </p:cNvPr>
          <p:cNvCxnSpPr>
            <a:cxnSpLocks/>
          </p:cNvCxnSpPr>
          <p:nvPr/>
        </p:nvCxnSpPr>
        <p:spPr>
          <a:xfrm flipH="1">
            <a:off x="8930156" y="1577602"/>
            <a:ext cx="6028" cy="2356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3FD5975-10BC-2444-AF0E-3AE0FF4EFF0A}"/>
              </a:ext>
            </a:extLst>
          </p:cNvPr>
          <p:cNvSpPr/>
          <p:nvPr/>
        </p:nvSpPr>
        <p:spPr>
          <a:xfrm>
            <a:off x="6748200" y="881544"/>
            <a:ext cx="1746227" cy="3776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eeded interventions</a:t>
            </a:r>
          </a:p>
        </p:txBody>
      </p:sp>
      <p:cxnSp>
        <p:nvCxnSpPr>
          <p:cNvPr id="32" name="Straight Arrow Connector 31">
            <a:extLst>
              <a:ext uri="{FF2B5EF4-FFF2-40B4-BE49-F238E27FC236}">
                <a16:creationId xmlns:a16="http://schemas.microsoft.com/office/drawing/2014/main" id="{F6782ECD-19BF-3D41-B3B0-DA27540E10C1}"/>
              </a:ext>
            </a:extLst>
          </p:cNvPr>
          <p:cNvCxnSpPr/>
          <p:nvPr/>
        </p:nvCxnSpPr>
        <p:spPr>
          <a:xfrm>
            <a:off x="7040380" y="1286856"/>
            <a:ext cx="0" cy="511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FBF5FF3-E67E-6E4C-8FC4-45C91A7F16C0}"/>
              </a:ext>
            </a:extLst>
          </p:cNvPr>
          <p:cNvCxnSpPr>
            <a:cxnSpLocks/>
          </p:cNvCxnSpPr>
          <p:nvPr/>
        </p:nvCxnSpPr>
        <p:spPr>
          <a:xfrm>
            <a:off x="7072858" y="1483732"/>
            <a:ext cx="11888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1" name="Content Placeholder 3">
            <a:extLst>
              <a:ext uri="{FF2B5EF4-FFF2-40B4-BE49-F238E27FC236}">
                <a16:creationId xmlns:a16="http://schemas.microsoft.com/office/drawing/2014/main" id="{76112737-1A83-EC4A-AB1C-A18C54E2DD7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88272" y="6108003"/>
            <a:ext cx="882478" cy="688902"/>
          </a:xfrm>
          <a:prstGeom prst="rect">
            <a:avLst/>
          </a:prstGeom>
        </p:spPr>
      </p:pic>
    </p:spTree>
    <p:extLst>
      <p:ext uri="{BB962C8B-B14F-4D97-AF65-F5344CB8AC3E}">
        <p14:creationId xmlns:p14="http://schemas.microsoft.com/office/powerpoint/2010/main" val="120063735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544F1A-B453-F416-CE4F-5C8BAA1A4AF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63402" y="-28489"/>
            <a:ext cx="5130432" cy="6886489"/>
          </a:xfrm>
          <a:prstGeom prst="rect">
            <a:avLst/>
          </a:prstGeom>
        </p:spPr>
      </p:pic>
    </p:spTree>
    <p:extLst>
      <p:ext uri="{BB962C8B-B14F-4D97-AF65-F5344CB8AC3E}">
        <p14:creationId xmlns:p14="http://schemas.microsoft.com/office/powerpoint/2010/main" val="2469374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F0E68B3-8795-E708-4ACF-179371B4BCAB}"/>
              </a:ext>
            </a:extLst>
          </p:cNvPr>
          <p:cNvGraphicFramePr/>
          <p:nvPr/>
        </p:nvGraphicFramePr>
        <p:xfrm>
          <a:off x="2228064" y="1743959"/>
          <a:ext cx="7886700" cy="3846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6">
            <a:extLst>
              <a:ext uri="{FF2B5EF4-FFF2-40B4-BE49-F238E27FC236}">
                <a16:creationId xmlns:a16="http://schemas.microsoft.com/office/drawing/2014/main" id="{2AA1EA47-008C-4D68-D481-EA4B5B7F6619}"/>
              </a:ext>
            </a:extLst>
          </p:cNvPr>
          <p:cNvSpPr>
            <a:spLocks noGrp="1"/>
          </p:cNvSpPr>
          <p:nvPr>
            <p:ph type="title" idx="4294967295"/>
          </p:nvPr>
        </p:nvSpPr>
        <p:spPr>
          <a:xfrm>
            <a:off x="603315" y="405239"/>
            <a:ext cx="7886700" cy="995362"/>
          </a:xfrm>
          <a:prstGeom prst="rect">
            <a:avLst/>
          </a:prstGeom>
        </p:spPr>
        <p:txBody>
          <a:bodyPr>
            <a:normAutofit/>
          </a:bodyPr>
          <a:lstStyle/>
          <a:p>
            <a:r>
              <a:rPr lang="en-US" sz="4000" dirty="0">
                <a:latin typeface="Aptos Display" panose="020B0004020202020204" pitchFamily="34" charset="0"/>
                <a:cs typeface="Arial" panose="020B0604020202020204" pitchFamily="34" charset="0"/>
              </a:rPr>
              <a:t>Components of Planning</a:t>
            </a:r>
          </a:p>
        </p:txBody>
      </p:sp>
    </p:spTree>
    <p:extLst>
      <p:ext uri="{BB962C8B-B14F-4D97-AF65-F5344CB8AC3E}">
        <p14:creationId xmlns:p14="http://schemas.microsoft.com/office/powerpoint/2010/main" val="24091223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7101" y="0"/>
            <a:ext cx="7289800" cy="1222375"/>
          </a:xfrm>
        </p:spPr>
        <p:txBody>
          <a:bodyPr anchor="t">
            <a:normAutofit/>
          </a:bodyPr>
          <a:lstStyle/>
          <a:p>
            <a:pPr algn="ctr">
              <a:lnSpc>
                <a:spcPct val="80000"/>
              </a:lnSpc>
            </a:pPr>
            <a:br>
              <a:rPr lang="en-US" sz="2500" dirty="0">
                <a:solidFill>
                  <a:srgbClr val="002060"/>
                </a:solidFill>
                <a:latin typeface="Verdana" panose="020B0604030504040204" pitchFamily="34" charset="0"/>
                <a:ea typeface="Verdana" panose="020B0604030504040204" pitchFamily="34" charset="0"/>
                <a:cs typeface="Verdana" panose="020B0604030504040204" pitchFamily="34" charset="0"/>
              </a:rPr>
            </a:br>
            <a:r>
              <a:rPr lang="en-US" sz="2500" dirty="0">
                <a:solidFill>
                  <a:srgbClr val="002060"/>
                </a:solidFill>
                <a:latin typeface="Verdana" panose="020B0604030504040204" pitchFamily="34" charset="0"/>
                <a:ea typeface="Verdana" panose="020B0604030504040204" pitchFamily="34" charset="0"/>
                <a:cs typeface="Verdana" panose="020B0604030504040204" pitchFamily="34" charset="0"/>
              </a:rPr>
              <a:t>What is Assessed During a 2-hour Visit: 12 Factors Empirically Linked to Family Risk</a:t>
            </a:r>
          </a:p>
        </p:txBody>
      </p:sp>
      <p:sp>
        <p:nvSpPr>
          <p:cNvPr id="9" name="TextBox 2"/>
          <p:cNvSpPr txBox="1">
            <a:spLocks noChangeArrowheads="1"/>
          </p:cNvSpPr>
          <p:nvPr/>
        </p:nvSpPr>
        <p:spPr bwMode="auto">
          <a:xfrm>
            <a:off x="2575756" y="5265704"/>
            <a:ext cx="7040487"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2">
            <a:spAutoFit/>
          </a:bodyPr>
          <a:lstStyle>
            <a:lvl1pPr>
              <a:defRPr sz="2400">
                <a:solidFill>
                  <a:schemeClr val="tx1"/>
                </a:solidFill>
                <a:latin typeface="Tahoma" panose="020B0604030504040204" pitchFamily="34" charset="0"/>
                <a:ea typeface="MS PGothic" panose="020B0600070205080204" pitchFamily="34" charset="-128"/>
              </a:defRPr>
            </a:lvl1pPr>
            <a:lvl2pPr marL="742950" indent="-285750">
              <a:defRPr sz="2400">
                <a:solidFill>
                  <a:schemeClr val="tx1"/>
                </a:solidFill>
                <a:latin typeface="Tahoma" panose="020B0604030504040204" pitchFamily="34" charset="0"/>
                <a:ea typeface="MS PGothic" panose="020B0600070205080204" pitchFamily="34" charset="-128"/>
              </a:defRPr>
            </a:lvl2pPr>
            <a:lvl3pPr marL="1143000" indent="-228600">
              <a:defRPr sz="2400">
                <a:solidFill>
                  <a:schemeClr val="tx1"/>
                </a:solidFill>
                <a:latin typeface="Tahoma" panose="020B0604030504040204" pitchFamily="34" charset="0"/>
                <a:ea typeface="MS PGothic" panose="020B0600070205080204" pitchFamily="34" charset="-128"/>
              </a:defRPr>
            </a:lvl3pPr>
            <a:lvl4pPr marL="1600200" indent="-228600">
              <a:defRPr sz="2400">
                <a:solidFill>
                  <a:schemeClr val="tx1"/>
                </a:solidFill>
                <a:latin typeface="Tahoma" panose="020B0604030504040204" pitchFamily="34" charset="0"/>
                <a:ea typeface="MS PGothic" panose="020B0600070205080204" pitchFamily="34" charset="-128"/>
              </a:defRPr>
            </a:lvl4pPr>
            <a:lvl5pPr marL="2057400" indent="-228600">
              <a:defRPr sz="2400">
                <a:solidFill>
                  <a:schemeClr val="tx1"/>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9pPr>
          </a:lstStyle>
          <a:p>
            <a:r>
              <a:rPr lang="en-US" altLang="en-US" sz="1600" b="1" dirty="0">
                <a:solidFill>
                  <a:schemeClr val="accent1"/>
                </a:solidFill>
                <a:latin typeface="+mn-lt"/>
                <a:ea typeface="Cambria Math" charset="0"/>
                <a:cs typeface="Cambria Math" charset="0"/>
              </a:rPr>
              <a:t>Each factor is rated as: </a:t>
            </a:r>
          </a:p>
          <a:p>
            <a:r>
              <a:rPr lang="en-US" altLang="en-US" sz="1600" dirty="0">
                <a:solidFill>
                  <a:schemeClr val="accent1"/>
                </a:solidFill>
                <a:latin typeface="+mn-lt"/>
                <a:ea typeface="Cambria Math" charset="0"/>
                <a:cs typeface="Cambria Math" charset="0"/>
              </a:rPr>
              <a:t>1 = No family needs </a:t>
            </a:r>
          </a:p>
          <a:p>
            <a:r>
              <a:rPr lang="en-US" altLang="en-US" sz="1600" dirty="0">
                <a:solidFill>
                  <a:schemeClr val="accent1"/>
                </a:solidFill>
                <a:latin typeface="+mn-lt"/>
                <a:ea typeface="Cambria Math" charset="0"/>
                <a:cs typeface="Cambria Math" charset="0"/>
              </a:rPr>
              <a:t>2 = Needs addressed during visit</a:t>
            </a:r>
          </a:p>
          <a:p>
            <a:endParaRPr lang="en-US" altLang="en-US" sz="1600" dirty="0">
              <a:solidFill>
                <a:schemeClr val="accent1"/>
              </a:solidFill>
              <a:latin typeface="+mn-lt"/>
              <a:ea typeface="Cambria Math" charset="0"/>
              <a:cs typeface="Cambria Math" charset="0"/>
            </a:endParaRPr>
          </a:p>
          <a:p>
            <a:endParaRPr lang="en-US" altLang="en-US" sz="1600" dirty="0">
              <a:solidFill>
                <a:schemeClr val="accent1"/>
              </a:solidFill>
              <a:latin typeface="+mn-lt"/>
              <a:ea typeface="Cambria Math" charset="0"/>
              <a:cs typeface="Cambria Math" charset="0"/>
            </a:endParaRPr>
          </a:p>
          <a:p>
            <a:r>
              <a:rPr lang="en-US" altLang="en-US" sz="1600" dirty="0">
                <a:solidFill>
                  <a:schemeClr val="accent1"/>
                </a:solidFill>
                <a:latin typeface="+mn-lt"/>
                <a:ea typeface="Cambria Math" charset="0"/>
                <a:cs typeface="Cambria Math" charset="0"/>
              </a:rPr>
              <a:t>3 = Community resources needed</a:t>
            </a:r>
          </a:p>
          <a:p>
            <a:r>
              <a:rPr lang="en-US" altLang="en-US" sz="1600" dirty="0">
                <a:solidFill>
                  <a:schemeClr val="accent1"/>
                </a:solidFill>
                <a:latin typeface="+mn-lt"/>
                <a:ea typeface="Cambria Math" charset="0"/>
                <a:cs typeface="Cambria Math" charset="0"/>
              </a:rPr>
              <a:t>4 = Emergency intervention needed</a:t>
            </a:r>
          </a:p>
        </p:txBody>
      </p:sp>
      <p:graphicFrame>
        <p:nvGraphicFramePr>
          <p:cNvPr id="6" name="Diagram 5"/>
          <p:cNvGraphicFramePr/>
          <p:nvPr>
            <p:extLst>
              <p:ext uri="{D42A27DB-BD31-4B8C-83A1-F6EECF244321}">
                <p14:modId xmlns:p14="http://schemas.microsoft.com/office/powerpoint/2010/main" val="2971654809"/>
              </p:ext>
            </p:extLst>
          </p:nvPr>
        </p:nvGraphicFramePr>
        <p:xfrm>
          <a:off x="1863458" y="1206412"/>
          <a:ext cx="8493773" cy="4075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33552" y="6342922"/>
            <a:ext cx="659812" cy="515079"/>
          </a:xfrm>
          <a:prstGeom prst="rect">
            <a:avLst/>
          </a:prstGeom>
        </p:spPr>
      </p:pic>
    </p:spTree>
    <p:extLst>
      <p:ext uri="{BB962C8B-B14F-4D97-AF65-F5344CB8AC3E}">
        <p14:creationId xmlns:p14="http://schemas.microsoft.com/office/powerpoint/2010/main" val="26547441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D1575-4A6E-5D64-9578-5D1BEAC287A2}"/>
              </a:ext>
            </a:extLst>
          </p:cNvPr>
          <p:cNvSpPr>
            <a:spLocks noGrp="1"/>
          </p:cNvSpPr>
          <p:nvPr>
            <p:ph type="title"/>
          </p:nvPr>
        </p:nvSpPr>
        <p:spPr>
          <a:xfrm>
            <a:off x="2292096" y="499872"/>
            <a:ext cx="7290054" cy="1206380"/>
          </a:xfrm>
        </p:spPr>
        <p:txBody>
          <a:bodyPr>
            <a:normAutofit fontScale="90000"/>
          </a:bodyPr>
          <a:lstStyle/>
          <a:p>
            <a:r>
              <a:rPr lang="en-US" sz="3600" dirty="0"/>
              <a:t>Examples of how Family Connects Positively Impacts Morbidity and Mortality</a:t>
            </a:r>
          </a:p>
        </p:txBody>
      </p:sp>
      <p:graphicFrame>
        <p:nvGraphicFramePr>
          <p:cNvPr id="10" name="Text Placeholder 2">
            <a:extLst>
              <a:ext uri="{FF2B5EF4-FFF2-40B4-BE49-F238E27FC236}">
                <a16:creationId xmlns:a16="http://schemas.microsoft.com/office/drawing/2014/main" id="{F0545951-BA6A-3F22-1856-3A07652BE548}"/>
              </a:ext>
            </a:extLst>
          </p:cNvPr>
          <p:cNvGraphicFramePr>
            <a:graphicFrameLocks noGrp="1"/>
          </p:cNvGraphicFramePr>
          <p:nvPr>
            <p:ph sz="half" idx="1"/>
            <p:extLst>
              <p:ext uri="{D42A27DB-BD31-4B8C-83A1-F6EECF244321}">
                <p14:modId xmlns:p14="http://schemas.microsoft.com/office/powerpoint/2010/main" val="703794934"/>
              </p:ext>
            </p:extLst>
          </p:nvPr>
        </p:nvGraphicFramePr>
        <p:xfrm>
          <a:off x="2292096" y="1706252"/>
          <a:ext cx="3566160" cy="46031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3">
            <a:extLst>
              <a:ext uri="{FF2B5EF4-FFF2-40B4-BE49-F238E27FC236}">
                <a16:creationId xmlns:a16="http://schemas.microsoft.com/office/drawing/2014/main" id="{91A717C0-D66C-2EB0-069B-7D13447D182D}"/>
              </a:ext>
            </a:extLst>
          </p:cNvPr>
          <p:cNvSpPr>
            <a:spLocks noGrp="1"/>
          </p:cNvSpPr>
          <p:nvPr>
            <p:ph sz="half" idx="2"/>
          </p:nvPr>
        </p:nvSpPr>
        <p:spPr>
          <a:xfrm>
            <a:off x="6227347" y="2347274"/>
            <a:ext cx="4937760" cy="3818830"/>
          </a:xfrm>
        </p:spPr>
        <p:txBody>
          <a:bodyPr/>
          <a:lstStyle/>
          <a:p>
            <a:r>
              <a:rPr lang="en-US" dirty="0"/>
              <a:t>Most common referrals:</a:t>
            </a:r>
          </a:p>
          <a:p>
            <a:pPr lvl="1"/>
            <a:r>
              <a:rPr lang="en-US" dirty="0"/>
              <a:t>Mental health</a:t>
            </a:r>
          </a:p>
          <a:p>
            <a:pPr lvl="1"/>
            <a:r>
              <a:rPr lang="en-US" dirty="0"/>
              <a:t>Follow-up care with PCP, OB, Pediatrician</a:t>
            </a:r>
          </a:p>
          <a:p>
            <a:pPr lvl="1"/>
            <a:r>
              <a:rPr lang="en-US" dirty="0"/>
              <a:t>WIC referrals</a:t>
            </a:r>
          </a:p>
          <a:p>
            <a:pPr lvl="1"/>
            <a:r>
              <a:rPr lang="en-US" dirty="0"/>
              <a:t>Legal/housing aid</a:t>
            </a:r>
          </a:p>
          <a:p>
            <a:pPr lvl="1"/>
            <a:r>
              <a:rPr lang="en-US" dirty="0"/>
              <a:t>Case Management/Social Worker for complex needs requiring longer term follow-up</a:t>
            </a:r>
          </a:p>
          <a:p>
            <a:pPr lvl="1"/>
            <a:r>
              <a:rPr lang="en-US" dirty="0"/>
              <a:t>Household/newborn material goods such as diapers, crib</a:t>
            </a:r>
          </a:p>
          <a:p>
            <a:endParaRPr lang="en-US" dirty="0"/>
          </a:p>
        </p:txBody>
      </p:sp>
    </p:spTree>
    <p:extLst>
      <p:ext uri="{BB962C8B-B14F-4D97-AF65-F5344CB8AC3E}">
        <p14:creationId xmlns:p14="http://schemas.microsoft.com/office/powerpoint/2010/main" val="16255021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04CC-1AA5-53F5-5A07-DE4BDE01E86C}"/>
              </a:ext>
            </a:extLst>
          </p:cNvPr>
          <p:cNvSpPr>
            <a:spLocks noGrp="1"/>
          </p:cNvSpPr>
          <p:nvPr>
            <p:ph type="title"/>
          </p:nvPr>
        </p:nvSpPr>
        <p:spPr/>
        <p:txBody>
          <a:bodyPr/>
          <a:lstStyle/>
          <a:p>
            <a:r>
              <a:rPr lang="en-US" dirty="0"/>
              <a:t>Patient Stories</a:t>
            </a:r>
          </a:p>
        </p:txBody>
      </p:sp>
      <p:sp>
        <p:nvSpPr>
          <p:cNvPr id="3" name="Content Placeholder 2">
            <a:extLst>
              <a:ext uri="{FF2B5EF4-FFF2-40B4-BE49-F238E27FC236}">
                <a16:creationId xmlns:a16="http://schemas.microsoft.com/office/drawing/2014/main" id="{70DA2064-C2B9-786C-4AB1-6A1A652C8321}"/>
              </a:ext>
            </a:extLst>
          </p:cNvPr>
          <p:cNvSpPr>
            <a:spLocks noGrp="1"/>
          </p:cNvSpPr>
          <p:nvPr>
            <p:ph idx="1"/>
          </p:nvPr>
        </p:nvSpPr>
        <p:spPr>
          <a:xfrm>
            <a:off x="5367130" y="2010440"/>
            <a:ext cx="5788550" cy="4023360"/>
          </a:xfrm>
        </p:spPr>
        <p:txBody>
          <a:bodyPr>
            <a:normAutofit/>
          </a:bodyPr>
          <a:lstStyle/>
          <a:p>
            <a:r>
              <a:rPr lang="en-US" sz="1800" b="0" i="0" u="none" strike="noStrike" dirty="0">
                <a:solidFill>
                  <a:srgbClr val="000000"/>
                </a:solidFill>
                <a:effectLst/>
              </a:rPr>
              <a:t>“I had a home visit with a mom that seemed perfectly healthy. It was her second child, and after providing lactation help, I started our routine vital checks. Her blood pressure was dangerously high — a sign of pre-eclampsia, which can cause seizure, stroke and organ failure in women. The mom repeatedly said she felt fine and had no other risk factors like diabetes, but when I checked it again, her blood pressure was even higher. </a:t>
            </a:r>
          </a:p>
          <a:p>
            <a:r>
              <a:rPr lang="en-US" sz="1800" b="1" i="0" u="none" strike="noStrike" dirty="0">
                <a:solidFill>
                  <a:srgbClr val="00B076"/>
                </a:solidFill>
                <a:effectLst/>
              </a:rPr>
              <a:t>After alerting her obstetrician, the mother was hospitalized for three days to lower her blood pressure.</a:t>
            </a:r>
            <a:r>
              <a:rPr lang="en-US" sz="1800" b="0" i="0" u="none" strike="noStrike" dirty="0">
                <a:solidFill>
                  <a:srgbClr val="00B076"/>
                </a:solidFill>
                <a:effectLst/>
              </a:rPr>
              <a:t> </a:t>
            </a:r>
            <a:r>
              <a:rPr lang="en-US" sz="1800" b="0" i="0" u="none" strike="noStrike" dirty="0">
                <a:solidFill>
                  <a:srgbClr val="000000"/>
                </a:solidFill>
                <a:effectLst/>
              </a:rPr>
              <a:t>Without this in-home intervention, it could have been weeks before a health professional would check the mother’s vital signs.” – Stephanie Flores, BSN, RN ​</a:t>
            </a:r>
            <a:r>
              <a:rPr lang="en-US" sz="1800" b="0" i="0" dirty="0">
                <a:solidFill>
                  <a:srgbClr val="000000"/>
                </a:solidFill>
                <a:effectLst/>
              </a:rPr>
              <a:t>​</a:t>
            </a:r>
            <a:endParaRPr lang="en-US" dirty="0">
              <a:solidFill>
                <a:schemeClr val="tx1"/>
              </a:solidFill>
            </a:endParaRPr>
          </a:p>
        </p:txBody>
      </p:sp>
    </p:spTree>
    <p:extLst>
      <p:ext uri="{BB962C8B-B14F-4D97-AF65-F5344CB8AC3E}">
        <p14:creationId xmlns:p14="http://schemas.microsoft.com/office/powerpoint/2010/main" val="15884416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BFAB1-E4A6-F439-B43B-7E5A35CEED8D}"/>
              </a:ext>
            </a:extLst>
          </p:cNvPr>
          <p:cNvSpPr>
            <a:spLocks noGrp="1"/>
          </p:cNvSpPr>
          <p:nvPr>
            <p:ph type="title"/>
          </p:nvPr>
        </p:nvSpPr>
        <p:spPr/>
        <p:txBody>
          <a:bodyPr/>
          <a:lstStyle/>
          <a:p>
            <a:r>
              <a:rPr lang="en-US" dirty="0"/>
              <a:t>Patient Stories</a:t>
            </a:r>
          </a:p>
        </p:txBody>
      </p:sp>
      <p:sp>
        <p:nvSpPr>
          <p:cNvPr id="3" name="Content Placeholder 2">
            <a:extLst>
              <a:ext uri="{FF2B5EF4-FFF2-40B4-BE49-F238E27FC236}">
                <a16:creationId xmlns:a16="http://schemas.microsoft.com/office/drawing/2014/main" id="{C9BEFC56-CDCF-772B-A084-507F4C55B86D}"/>
              </a:ext>
            </a:extLst>
          </p:cNvPr>
          <p:cNvSpPr>
            <a:spLocks noGrp="1"/>
          </p:cNvSpPr>
          <p:nvPr>
            <p:ph idx="1"/>
          </p:nvPr>
        </p:nvSpPr>
        <p:spPr>
          <a:xfrm>
            <a:off x="4640154" y="1788938"/>
            <a:ext cx="6515526" cy="3652025"/>
          </a:xfrm>
        </p:spPr>
        <p:txBody>
          <a:bodyPr>
            <a:noAutofit/>
          </a:bodyPr>
          <a:lstStyle/>
          <a:p>
            <a:r>
              <a:rPr lang="en-US" sz="1800" dirty="0"/>
              <a:t>I had the privilege of providing care to a young mother who was new to Chicago. When I explained the Family Connects program to her she was excited to schedule an appointment.  During the visit,  several needs were identified for both physical and emotional health, as well as social support. The patient disclosed that she had survived abuse in her childhood and still struggled with processing the events. I expressed empathy and allowed the patient time to share her experience. I offered to connect her to a Therapist or Counselor, and she agreed. She also wanted assistance with food, education, parenting classes, and tangible needs for her infant.</a:t>
            </a:r>
          </a:p>
          <a:p>
            <a:r>
              <a:rPr lang="en-US" sz="1800" b="1" dirty="0">
                <a:solidFill>
                  <a:schemeClr val="accent2"/>
                </a:solidFill>
              </a:rPr>
              <a:t>During my follow up with the patient, I was thrilled to learn that she has been receiving therapy consistently, has been enrolled in food assistance programs, and has had infant diapers ,clothing, and supplies delivered to her home.  The patient is thriving and continues to build her support system to reach her personal and parenting goals.</a:t>
            </a:r>
          </a:p>
        </p:txBody>
      </p:sp>
    </p:spTree>
    <p:extLst>
      <p:ext uri="{BB962C8B-B14F-4D97-AF65-F5344CB8AC3E}">
        <p14:creationId xmlns:p14="http://schemas.microsoft.com/office/powerpoint/2010/main" val="19496307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4E8A67-FB0B-78CA-DC32-C9EE07AA51D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71002" y="-168"/>
            <a:ext cx="9144223" cy="6858167"/>
          </a:xfrm>
          <a:prstGeom prst="rect">
            <a:avLst/>
          </a:prstGeom>
        </p:spPr>
      </p:pic>
    </p:spTree>
    <p:extLst>
      <p:ext uri="{BB962C8B-B14F-4D97-AF65-F5344CB8AC3E}">
        <p14:creationId xmlns:p14="http://schemas.microsoft.com/office/powerpoint/2010/main" val="39444062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DCC75671-06E2-63C4-C636-FAE38C7C363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5021" r="-2" b="19978"/>
          <a:stretch/>
        </p:blipFill>
        <p:spPr>
          <a:xfrm>
            <a:off x="-3047" y="10"/>
            <a:ext cx="12191999" cy="6857990"/>
          </a:xfrm>
          <a:prstGeom prst="rect">
            <a:avLst/>
          </a:prstGeom>
        </p:spPr>
      </p:pic>
      <p:sp>
        <p:nvSpPr>
          <p:cNvPr id="13" name="Rectangle 12">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AF028EA-56C1-ABB7-4304-0B82870561EF}"/>
              </a:ext>
            </a:extLst>
          </p:cNvPr>
          <p:cNvSpPr>
            <a:spLocks noGrp="1"/>
          </p:cNvSpPr>
          <p:nvPr>
            <p:ph type="title"/>
          </p:nvPr>
        </p:nvSpPr>
        <p:spPr>
          <a:xfrm>
            <a:off x="-422427" y="122100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lnSpc>
                <a:spcPct val="90000"/>
              </a:lnSpc>
            </a:pPr>
            <a:r>
              <a:rPr lang="en-US" sz="5200" dirty="0">
                <a:solidFill>
                  <a:srgbClr val="FFFFFF"/>
                </a:solidFill>
                <a:ea typeface="+mj-ea"/>
                <a:cs typeface="+mj-cs"/>
              </a:rPr>
              <a:t>Panel Discussion </a:t>
            </a:r>
            <a:br>
              <a:rPr lang="en-US" sz="5200" dirty="0">
                <a:solidFill>
                  <a:srgbClr val="FFFFFF"/>
                </a:solidFill>
                <a:ea typeface="+mj-ea"/>
                <a:cs typeface="+mj-cs"/>
              </a:rPr>
            </a:br>
            <a:r>
              <a:rPr lang="en-US" sz="5200" dirty="0">
                <a:solidFill>
                  <a:srgbClr val="FFFFFF"/>
                </a:solidFill>
                <a:ea typeface="+mj-ea"/>
                <a:cs typeface="+mj-cs"/>
              </a:rPr>
              <a:t>Q &amp; A</a:t>
            </a:r>
          </a:p>
        </p:txBody>
      </p:sp>
      <p:sp>
        <p:nvSpPr>
          <p:cNvPr id="5" name="Footer Placeholder 4">
            <a:extLst>
              <a:ext uri="{FF2B5EF4-FFF2-40B4-BE49-F238E27FC236}">
                <a16:creationId xmlns:a16="http://schemas.microsoft.com/office/drawing/2014/main" id="{F434D473-E69D-860D-0C71-49BE5E4C97F6}"/>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dirty="0">
                <a:solidFill>
                  <a:srgbClr val="FFFFFF"/>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16571A7A-4A3E-6924-6FAC-91D37E4F2947}"/>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rgbClr val="FFFFFF"/>
                </a:solidFill>
                <a:latin typeface="Calibri" panose="020F0502020204030204"/>
              </a:rPr>
              <a:pPr>
                <a:spcAft>
                  <a:spcPts val="600"/>
                </a:spcAft>
                <a:defRPr/>
              </a:pPr>
              <a:t>48</a:t>
            </a:fld>
            <a:endParaRPr lang="en-US">
              <a:solidFill>
                <a:srgbClr val="FFFFFF"/>
              </a:solidFill>
              <a:latin typeface="Calibri" panose="020F0502020204030204"/>
            </a:endParaRPr>
          </a:p>
        </p:txBody>
      </p:sp>
    </p:spTree>
    <p:extLst>
      <p:ext uri="{BB962C8B-B14F-4D97-AF65-F5344CB8AC3E}">
        <p14:creationId xmlns:p14="http://schemas.microsoft.com/office/powerpoint/2010/main" val="1812928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524000" y="0"/>
            <a:ext cx="9144000" cy="6858000"/>
          </a:xfrm>
          <a:custGeom>
            <a:avLst/>
            <a:gdLst/>
            <a:ahLst/>
            <a:cxnLst/>
            <a:rect l="l" t="t" r="r" b="b"/>
            <a:pathLst>
              <a:path w="9753600" h="7315200">
                <a:moveTo>
                  <a:pt x="0" y="0"/>
                </a:moveTo>
                <a:lnTo>
                  <a:pt x="9753600" y="0"/>
                </a:lnTo>
                <a:lnTo>
                  <a:pt x="9753600" y="7315200"/>
                </a:lnTo>
                <a:lnTo>
                  <a:pt x="0" y="7315200"/>
                </a:lnTo>
                <a:lnTo>
                  <a:pt x="0" y="0"/>
                </a:lnTo>
                <a:close/>
              </a:path>
            </a:pathLst>
          </a:custGeom>
          <a:blipFill>
            <a:blip r:embed="rId2"/>
            <a:stretch>
              <a:fillRect l="-25125" r="-25125"/>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p:cNvSpPr/>
          <p:nvPr/>
        </p:nvSpPr>
        <p:spPr>
          <a:xfrm>
            <a:off x="8366398" y="5946598"/>
            <a:ext cx="1615802" cy="451205"/>
          </a:xfrm>
          <a:custGeom>
            <a:avLst/>
            <a:gdLst/>
            <a:ahLst/>
            <a:cxnLst/>
            <a:rect l="l" t="t" r="r" b="b"/>
            <a:pathLst>
              <a:path w="1723522" h="481285">
                <a:moveTo>
                  <a:pt x="0" y="0"/>
                </a:moveTo>
                <a:lnTo>
                  <a:pt x="1723522" y="0"/>
                </a:lnTo>
                <a:lnTo>
                  <a:pt x="1723522" y="481286"/>
                </a:lnTo>
                <a:lnTo>
                  <a:pt x="0" y="481286"/>
                </a:lnTo>
                <a:lnTo>
                  <a:pt x="0" y="0"/>
                </a:lnTo>
                <a:close/>
              </a:path>
            </a:pathLst>
          </a:custGeom>
          <a:blipFill>
            <a:blip r:embed="rId3"/>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4"/>
          <p:cNvSpPr/>
          <p:nvPr/>
        </p:nvSpPr>
        <p:spPr>
          <a:xfrm>
            <a:off x="8306255" y="1593127"/>
            <a:ext cx="2027859" cy="2199847"/>
          </a:xfrm>
          <a:custGeom>
            <a:avLst/>
            <a:gdLst/>
            <a:ahLst/>
            <a:cxnLst/>
            <a:rect l="l" t="t" r="r" b="b"/>
            <a:pathLst>
              <a:path w="2163050" h="2346503">
                <a:moveTo>
                  <a:pt x="0" y="0"/>
                </a:moveTo>
                <a:lnTo>
                  <a:pt x="2163049" y="0"/>
                </a:lnTo>
                <a:lnTo>
                  <a:pt x="2163049" y="2346503"/>
                </a:lnTo>
                <a:lnTo>
                  <a:pt x="0" y="23465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5"/>
          <p:cNvGrpSpPr/>
          <p:nvPr/>
        </p:nvGrpSpPr>
        <p:grpSpPr>
          <a:xfrm>
            <a:off x="1684478" y="336467"/>
            <a:ext cx="8823046" cy="1179601"/>
            <a:chOff x="0" y="0"/>
            <a:chExt cx="12548332" cy="1677655"/>
          </a:xfrm>
        </p:grpSpPr>
        <p:sp>
          <p:nvSpPr>
            <p:cNvPr id="6" name="Freeform 6"/>
            <p:cNvSpPr/>
            <p:nvPr/>
          </p:nvSpPr>
          <p:spPr>
            <a:xfrm>
              <a:off x="0" y="0"/>
              <a:ext cx="12548332" cy="1677655"/>
            </a:xfrm>
            <a:custGeom>
              <a:avLst/>
              <a:gdLst/>
              <a:ahLst/>
              <a:cxnLst/>
              <a:rect l="l" t="t" r="r" b="b"/>
              <a:pathLst>
                <a:path w="12548332" h="1677655">
                  <a:moveTo>
                    <a:pt x="0" y="0"/>
                  </a:moveTo>
                  <a:lnTo>
                    <a:pt x="12548332" y="0"/>
                  </a:lnTo>
                  <a:lnTo>
                    <a:pt x="12548332" y="1677655"/>
                  </a:lnTo>
                  <a:lnTo>
                    <a:pt x="0" y="1677655"/>
                  </a:lnTo>
                  <a:lnTo>
                    <a:pt x="0" y="0"/>
                  </a:lnTo>
                  <a:close/>
                </a:path>
              </a:pathLst>
            </a:custGeom>
            <a:blipFill>
              <a:blip r:embed="rId6">
                <a:extLst>
                  <a:ext uri="{96DAC541-7B7A-43D3-8B79-37D633B846F1}">
                    <asvg:svgBlip xmlns:asvg="http://schemas.microsoft.com/office/drawing/2016/SVG/main" r:embed="rId7"/>
                  </a:ext>
                </a:extLst>
              </a:blip>
              <a:stretch>
                <a:fillRect t="-56852" b="-56852"/>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1058529" y="301039"/>
              <a:ext cx="10431273" cy="1130793"/>
            </a:xfrm>
            <a:prstGeom prst="rect">
              <a:avLst/>
            </a:prstGeom>
          </p:spPr>
          <p:txBody>
            <a:bodyPr lIns="0" tIns="0" rIns="0" bIns="0" rtlCol="0" anchor="t">
              <a:spAutoFit/>
            </a:bodyPr>
            <a:lstStyle/>
            <a:p>
              <a:pPr marL="0" marR="0" lvl="0" indent="0" algn="ctr" defTabSz="857250" rtl="0" eaLnBrk="1" fontAlgn="auto" latinLnBrk="0" hangingPunct="1">
                <a:lnSpc>
                  <a:spcPts val="3054"/>
                </a:lnSpc>
                <a:spcBef>
                  <a:spcPct val="0"/>
                </a:spcBef>
                <a:spcAft>
                  <a:spcPts val="0"/>
                </a:spcAft>
                <a:buClrTx/>
                <a:buSzTx/>
                <a:buFontTx/>
                <a:buNone/>
                <a:tabLst/>
                <a:defRPr/>
              </a:pPr>
              <a:r>
                <a:rPr kumimoji="0" lang="en-US" sz="2349" b="0" i="0" u="none" strike="noStrike" kern="1200" cap="none" spc="47" normalizeH="0" baseline="0" noProof="0">
                  <a:ln>
                    <a:noFill/>
                  </a:ln>
                  <a:solidFill>
                    <a:srgbClr val="FFFFFF"/>
                  </a:solidFill>
                  <a:effectLst/>
                  <a:uLnTx/>
                  <a:uFillTx/>
                  <a:latin typeface="Rubik Semi-Bold"/>
                  <a:ea typeface="+mn-ea"/>
                  <a:cs typeface="+mn-cs"/>
                </a:rPr>
                <a:t>BENEFITS OF COMMUNITY-BASED DOULA PROGRAMS</a:t>
              </a:r>
            </a:p>
          </p:txBody>
        </p:sp>
      </p:grpSp>
      <p:sp>
        <p:nvSpPr>
          <p:cNvPr id="10" name="TextBox 10"/>
          <p:cNvSpPr txBox="1"/>
          <p:nvPr/>
        </p:nvSpPr>
        <p:spPr>
          <a:xfrm>
            <a:off x="1684478" y="1682114"/>
            <a:ext cx="4872442" cy="4462760"/>
          </a:xfrm>
          <a:prstGeom prst="rect">
            <a:avLst/>
          </a:prstGeom>
        </p:spPr>
        <p:txBody>
          <a:bodyPr lIns="0" tIns="0" rIns="0" bIns="0" rtlCol="0" anchor="t">
            <a:spAutoFit/>
          </a:bodyPr>
          <a:lstStyle/>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Peer to Peer Support</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Parenting &amp; baby bond strengthened</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Increased breastfeeding intention/initiation and duration rate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Fewer medical intervention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Fewer c-section deliverie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More positive birth experience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Increased parenting skill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Mentorship &amp; community building</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250" b="0" i="0" u="none" strike="noStrike" kern="1200" cap="none" spc="2" normalizeH="0" baseline="0" noProof="0" dirty="0">
                <a:ln>
                  <a:noFill/>
                </a:ln>
                <a:solidFill>
                  <a:srgbClr val="472049"/>
                </a:solidFill>
                <a:effectLst/>
                <a:uLnTx/>
                <a:uFillTx/>
                <a:latin typeface="Rubik Bold"/>
                <a:ea typeface="+mn-ea"/>
                <a:cs typeface="+mn-cs"/>
              </a:rPr>
              <a:t>Workforce development</a:t>
            </a:r>
            <a:endParaRPr kumimoji="0" lang="en-US" sz="2062" b="0" i="0" u="none" strike="noStrike" kern="1200" cap="none" spc="2" normalizeH="0" baseline="0" noProof="0" dirty="0">
              <a:ln>
                <a:noFill/>
              </a:ln>
              <a:solidFill>
                <a:srgbClr val="472049"/>
              </a:solidFill>
              <a:effectLst/>
              <a:uLnTx/>
              <a:uFillTx/>
              <a:latin typeface="Rubik Bold"/>
              <a:ea typeface="+mn-ea"/>
              <a:cs typeface="+mn-cs"/>
            </a:endParaRPr>
          </a:p>
        </p:txBody>
      </p:sp>
    </p:spTree>
    <p:extLst>
      <p:ext uri="{BB962C8B-B14F-4D97-AF65-F5344CB8AC3E}">
        <p14:creationId xmlns:p14="http://schemas.microsoft.com/office/powerpoint/2010/main" val="2085162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524000" y="-10716"/>
            <a:ext cx="9144000" cy="6858000"/>
          </a:xfrm>
          <a:custGeom>
            <a:avLst/>
            <a:gdLst/>
            <a:ahLst/>
            <a:cxnLst/>
            <a:rect l="l" t="t" r="r" b="b"/>
            <a:pathLst>
              <a:path w="9753600" h="7315200">
                <a:moveTo>
                  <a:pt x="0" y="0"/>
                </a:moveTo>
                <a:lnTo>
                  <a:pt x="9753600" y="0"/>
                </a:lnTo>
                <a:lnTo>
                  <a:pt x="9753600" y="7315200"/>
                </a:lnTo>
                <a:lnTo>
                  <a:pt x="0" y="7315200"/>
                </a:lnTo>
                <a:lnTo>
                  <a:pt x="0" y="0"/>
                </a:lnTo>
                <a:close/>
              </a:path>
            </a:pathLst>
          </a:custGeom>
          <a:blipFill>
            <a:blip r:embed="rId2"/>
            <a:stretch>
              <a:fillRect l="-25125" r="-25125"/>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3" name="Freeform 3"/>
          <p:cNvSpPr/>
          <p:nvPr/>
        </p:nvSpPr>
        <p:spPr>
          <a:xfrm>
            <a:off x="8366398" y="5946598"/>
            <a:ext cx="1615802" cy="451205"/>
          </a:xfrm>
          <a:custGeom>
            <a:avLst/>
            <a:gdLst/>
            <a:ahLst/>
            <a:cxnLst/>
            <a:rect l="l" t="t" r="r" b="b"/>
            <a:pathLst>
              <a:path w="1723522" h="481285">
                <a:moveTo>
                  <a:pt x="0" y="0"/>
                </a:moveTo>
                <a:lnTo>
                  <a:pt x="1723522" y="0"/>
                </a:lnTo>
                <a:lnTo>
                  <a:pt x="1723522" y="481286"/>
                </a:lnTo>
                <a:lnTo>
                  <a:pt x="0" y="481286"/>
                </a:lnTo>
                <a:lnTo>
                  <a:pt x="0" y="0"/>
                </a:lnTo>
                <a:close/>
              </a:path>
            </a:pathLst>
          </a:custGeom>
          <a:blipFill>
            <a:blip r:embed="rId3"/>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4" name="Freeform 4"/>
          <p:cNvSpPr/>
          <p:nvPr/>
        </p:nvSpPr>
        <p:spPr>
          <a:xfrm>
            <a:off x="8306255" y="1593127"/>
            <a:ext cx="2027859" cy="2199847"/>
          </a:xfrm>
          <a:custGeom>
            <a:avLst/>
            <a:gdLst/>
            <a:ahLst/>
            <a:cxnLst/>
            <a:rect l="l" t="t" r="r" b="b"/>
            <a:pathLst>
              <a:path w="2163050" h="2346503">
                <a:moveTo>
                  <a:pt x="0" y="0"/>
                </a:moveTo>
                <a:lnTo>
                  <a:pt x="2163049" y="0"/>
                </a:lnTo>
                <a:lnTo>
                  <a:pt x="2163049" y="2346503"/>
                </a:lnTo>
                <a:lnTo>
                  <a:pt x="0" y="234650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5"/>
          <p:cNvGrpSpPr/>
          <p:nvPr/>
        </p:nvGrpSpPr>
        <p:grpSpPr>
          <a:xfrm>
            <a:off x="1684478" y="336467"/>
            <a:ext cx="8823046" cy="1179601"/>
            <a:chOff x="0" y="0"/>
            <a:chExt cx="12548332" cy="1677655"/>
          </a:xfrm>
        </p:grpSpPr>
        <p:sp>
          <p:nvSpPr>
            <p:cNvPr id="6" name="Freeform 6"/>
            <p:cNvSpPr/>
            <p:nvPr/>
          </p:nvSpPr>
          <p:spPr>
            <a:xfrm>
              <a:off x="0" y="0"/>
              <a:ext cx="12548332" cy="1677655"/>
            </a:xfrm>
            <a:custGeom>
              <a:avLst/>
              <a:gdLst/>
              <a:ahLst/>
              <a:cxnLst/>
              <a:rect l="l" t="t" r="r" b="b"/>
              <a:pathLst>
                <a:path w="12548332" h="1677655">
                  <a:moveTo>
                    <a:pt x="0" y="0"/>
                  </a:moveTo>
                  <a:lnTo>
                    <a:pt x="12548332" y="0"/>
                  </a:lnTo>
                  <a:lnTo>
                    <a:pt x="12548332" y="1677655"/>
                  </a:lnTo>
                  <a:lnTo>
                    <a:pt x="0" y="1677655"/>
                  </a:lnTo>
                  <a:lnTo>
                    <a:pt x="0" y="0"/>
                  </a:lnTo>
                  <a:close/>
                </a:path>
              </a:pathLst>
            </a:custGeom>
            <a:blipFill>
              <a:blip r:embed="rId6">
                <a:extLst>
                  <a:ext uri="{96DAC541-7B7A-43D3-8B79-37D633B846F1}">
                    <asvg:svgBlip xmlns:asvg="http://schemas.microsoft.com/office/drawing/2016/SVG/main" r:embed="rId7"/>
                  </a:ext>
                </a:extLst>
              </a:blip>
              <a:stretch>
                <a:fillRect t="-56852" b="-56852"/>
              </a:stretch>
            </a:blip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s-MX" sz="1688"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1058529" y="301039"/>
              <a:ext cx="10431273" cy="1130793"/>
            </a:xfrm>
            <a:prstGeom prst="rect">
              <a:avLst/>
            </a:prstGeom>
          </p:spPr>
          <p:txBody>
            <a:bodyPr lIns="0" tIns="0" rIns="0" bIns="0" rtlCol="0" anchor="t">
              <a:spAutoFit/>
            </a:bodyPr>
            <a:lstStyle/>
            <a:p>
              <a:pPr marL="0" marR="0" lvl="0" indent="0" algn="ctr" defTabSz="857250" rtl="0" eaLnBrk="1" fontAlgn="auto" latinLnBrk="0" hangingPunct="1">
                <a:lnSpc>
                  <a:spcPts val="3054"/>
                </a:lnSpc>
                <a:spcBef>
                  <a:spcPct val="0"/>
                </a:spcBef>
                <a:spcAft>
                  <a:spcPts val="0"/>
                </a:spcAft>
                <a:buClrTx/>
                <a:buSzTx/>
                <a:buFontTx/>
                <a:buNone/>
                <a:tabLst/>
                <a:defRPr/>
              </a:pPr>
              <a:r>
                <a:rPr kumimoji="0" lang="en-US" sz="2349" b="0" i="0" u="none" strike="noStrike" kern="1200" cap="none" spc="47" normalizeH="0" baseline="0" noProof="0" dirty="0">
                  <a:ln>
                    <a:noFill/>
                  </a:ln>
                  <a:solidFill>
                    <a:srgbClr val="FFFFFF"/>
                  </a:solidFill>
                  <a:effectLst/>
                  <a:uLnTx/>
                  <a:uFillTx/>
                  <a:latin typeface="Rubik Semi-Bold"/>
                  <a:ea typeface="+mn-ea"/>
                  <a:cs typeface="+mn-cs"/>
                </a:rPr>
                <a:t>How can hospitals, FQHC &amp; Institutions Support CBD Programs?</a:t>
              </a:r>
            </a:p>
          </p:txBody>
        </p:sp>
      </p:grpSp>
      <p:sp>
        <p:nvSpPr>
          <p:cNvPr id="10" name="TextBox 10"/>
          <p:cNvSpPr txBox="1"/>
          <p:nvPr/>
        </p:nvSpPr>
        <p:spPr>
          <a:xfrm>
            <a:off x="1684478" y="1756494"/>
            <a:ext cx="5935977" cy="4090863"/>
          </a:xfrm>
          <a:prstGeom prst="rect">
            <a:avLst/>
          </a:prstGeom>
        </p:spPr>
        <p:txBody>
          <a:bodyPr wrap="square" lIns="0" tIns="0" rIns="0" bIns="0" rtlCol="0" anchor="t">
            <a:spAutoFit/>
          </a:bodyPr>
          <a:lstStyle/>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Become familiar with role of a CBD</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Have the tools available for CBD to use e.g. birth ball, warm/cold packs etc.</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Provide orientation to CBD</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Become familiar with referrals to CBD programs</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Provide lunch and learn / meet &amp; greet opportunities with CBD program staff</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Racial Equity Training</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Celebrate Community Doula Week in March </a:t>
            </a:r>
          </a:p>
          <a:p>
            <a:pPr marL="445292" marR="0" lvl="1" indent="-222646" algn="l" defTabSz="857250" rtl="0" eaLnBrk="1" fontAlgn="auto" latinLnBrk="0" hangingPunct="1">
              <a:lnSpc>
                <a:spcPts val="2887"/>
              </a:lnSpc>
              <a:spcBef>
                <a:spcPts val="0"/>
              </a:spcBef>
              <a:spcAft>
                <a:spcPts val="0"/>
              </a:spcAft>
              <a:buClrTx/>
              <a:buSzTx/>
              <a:buFont typeface="Arial"/>
              <a:buChar char="•"/>
              <a:tabLst/>
              <a:defRPr/>
            </a:pPr>
            <a:r>
              <a:rPr kumimoji="0" lang="en-US" sz="2000" b="0" i="0" u="none" strike="noStrike" kern="1200" cap="none" spc="2" normalizeH="0" baseline="0" noProof="0" dirty="0">
                <a:ln>
                  <a:noFill/>
                </a:ln>
                <a:solidFill>
                  <a:srgbClr val="472049"/>
                </a:solidFill>
                <a:effectLst/>
                <a:uLnTx/>
                <a:uFillTx/>
                <a:latin typeface="Rubik Bold"/>
                <a:ea typeface="+mn-ea"/>
                <a:cs typeface="+mn-cs"/>
              </a:rPr>
              <a:t>Support the investment in CBD programs and advocacy</a:t>
            </a:r>
          </a:p>
        </p:txBody>
      </p:sp>
    </p:spTree>
    <p:extLst>
      <p:ext uri="{BB962C8B-B14F-4D97-AF65-F5344CB8AC3E}">
        <p14:creationId xmlns:p14="http://schemas.microsoft.com/office/powerpoint/2010/main" val="4201563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442955"/>
            <a:ext cx="9841203" cy="2014679"/>
          </a:xfrm>
        </p:spPr>
        <p:txBody>
          <a:bodyPr/>
          <a:lstStyle/>
          <a:p>
            <a:r>
              <a:rPr lang="en-US" dirty="0">
                <a:ea typeface="Lato Medium"/>
                <a:cs typeface="Lato Medium"/>
              </a:rPr>
              <a:t>Marvella Ying, BSBA, CD, CBE</a:t>
            </a:r>
            <a:endParaRPr lang="en-US" dirty="0"/>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449035"/>
            <a:ext cx="9365380" cy="986569"/>
          </a:xfrm>
        </p:spPr>
        <p:txBody>
          <a:bodyPr vert="horz" lIns="91440" tIns="45720" rIns="91440" bIns="45720" rtlCol="0" anchor="t">
            <a:noAutofit/>
          </a:bodyPr>
          <a:lstStyle/>
          <a:p>
            <a:pPr>
              <a:spcAft>
                <a:spcPts val="0"/>
              </a:spcAft>
            </a:pPr>
            <a:r>
              <a:rPr lang="en-US" dirty="0">
                <a:ea typeface="Lato"/>
                <a:cs typeface="Lato"/>
              </a:rPr>
              <a:t>Doula and Founder, M-Brace Birthing LLC</a:t>
            </a:r>
            <a:endParaRPr lang="en-US" dirty="0"/>
          </a:p>
          <a:p>
            <a:pPr>
              <a:spcAft>
                <a:spcPts val="0"/>
              </a:spcAft>
            </a:pPr>
            <a:r>
              <a:rPr lang="en-US" dirty="0">
                <a:ea typeface="Lato"/>
                <a:cs typeface="Lato"/>
              </a:rPr>
              <a:t>Co-facilitator, The Doula Lab</a:t>
            </a:r>
            <a:endParaRPr lang="en-US" dirty="0"/>
          </a:p>
        </p:txBody>
      </p:sp>
    </p:spTree>
    <p:extLst>
      <p:ext uri="{BB962C8B-B14F-4D97-AF65-F5344CB8AC3E}">
        <p14:creationId xmlns:p14="http://schemas.microsoft.com/office/powerpoint/2010/main" val="1400340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 y="1"/>
            <a:ext cx="12191999" cy="6857999"/>
          </a:xfrm>
          <a:prstGeom prst="rect">
            <a:avLst/>
          </a:prstGeom>
        </p:spPr>
      </p:pic>
      <p:sp>
        <p:nvSpPr>
          <p:cNvPr id="3" name="object 3"/>
          <p:cNvSpPr txBox="1">
            <a:spLocks noGrp="1"/>
          </p:cNvSpPr>
          <p:nvPr>
            <p:ph type="title"/>
          </p:nvPr>
        </p:nvSpPr>
        <p:spPr>
          <a:xfrm>
            <a:off x="3995002" y="1390696"/>
            <a:ext cx="7311813" cy="1236133"/>
          </a:xfrm>
          <a:prstGeom prst="rect">
            <a:avLst/>
          </a:prstGeom>
        </p:spPr>
        <p:txBody>
          <a:bodyPr vert="horz" wrap="square" lIns="0" tIns="8467" rIns="0" bIns="0" rtlCol="0">
            <a:spAutoFit/>
          </a:bodyPr>
          <a:lstStyle/>
          <a:p>
            <a:pPr marL="8467">
              <a:lnSpc>
                <a:spcPct val="100000"/>
              </a:lnSpc>
              <a:spcBef>
                <a:spcPts val="67"/>
              </a:spcBef>
            </a:pPr>
            <a:r>
              <a:rPr sz="8000" spc="-423" dirty="0"/>
              <a:t>THE</a:t>
            </a:r>
            <a:r>
              <a:rPr sz="8000" spc="-383" dirty="0"/>
              <a:t> </a:t>
            </a:r>
            <a:r>
              <a:rPr sz="8000" dirty="0"/>
              <a:t>DOULA</a:t>
            </a:r>
            <a:r>
              <a:rPr sz="8000" spc="-380" dirty="0"/>
              <a:t> </a:t>
            </a:r>
            <a:r>
              <a:rPr sz="8000" spc="-187" dirty="0"/>
              <a:t>LAB</a:t>
            </a:r>
            <a:endParaRPr sz="8000"/>
          </a:p>
        </p:txBody>
      </p:sp>
      <p:sp>
        <p:nvSpPr>
          <p:cNvPr id="4" name="object 4"/>
          <p:cNvSpPr txBox="1"/>
          <p:nvPr/>
        </p:nvSpPr>
        <p:spPr>
          <a:xfrm>
            <a:off x="5570278" y="3349401"/>
            <a:ext cx="5648960" cy="1293283"/>
          </a:xfrm>
          <a:prstGeom prst="rect">
            <a:avLst/>
          </a:prstGeom>
        </p:spPr>
        <p:txBody>
          <a:bodyPr vert="horz" wrap="square" lIns="0" tIns="8467" rIns="0" bIns="0" rtlCol="0">
            <a:spAutoFit/>
          </a:bodyPr>
          <a:lstStyle/>
          <a:p>
            <a:pPr marL="8467" marR="3387" indent="423" algn="ctr">
              <a:lnSpc>
                <a:spcPct val="116300"/>
              </a:lnSpc>
              <a:spcBef>
                <a:spcPts val="67"/>
              </a:spcBef>
            </a:pPr>
            <a:r>
              <a:rPr sz="2400" spc="-143" dirty="0">
                <a:solidFill>
                  <a:srgbClr val="2ABEC1"/>
                </a:solidFill>
                <a:latin typeface="Arial Black"/>
                <a:cs typeface="Arial Black"/>
              </a:rPr>
              <a:t>Help</a:t>
            </a:r>
            <a:r>
              <a:rPr sz="2400" spc="-169" dirty="0">
                <a:solidFill>
                  <a:srgbClr val="2ABEC1"/>
                </a:solidFill>
                <a:latin typeface="Arial Black"/>
                <a:cs typeface="Arial Black"/>
              </a:rPr>
              <a:t> </a:t>
            </a:r>
            <a:r>
              <a:rPr sz="2400" spc="-163" dirty="0">
                <a:solidFill>
                  <a:srgbClr val="2ABEC1"/>
                </a:solidFill>
                <a:latin typeface="Arial Black"/>
                <a:cs typeface="Arial Black"/>
              </a:rPr>
              <a:t>us</a:t>
            </a:r>
            <a:r>
              <a:rPr sz="2400" spc="-169" dirty="0">
                <a:solidFill>
                  <a:srgbClr val="2ABEC1"/>
                </a:solidFill>
                <a:latin typeface="Arial Black"/>
                <a:cs typeface="Arial Black"/>
              </a:rPr>
              <a:t> </a:t>
            </a:r>
            <a:r>
              <a:rPr sz="2400" spc="-87" dirty="0">
                <a:solidFill>
                  <a:srgbClr val="2ABEC1"/>
                </a:solidFill>
                <a:latin typeface="Arial Black"/>
                <a:cs typeface="Arial Black"/>
              </a:rPr>
              <a:t>to</a:t>
            </a:r>
            <a:r>
              <a:rPr sz="2400" spc="-167" dirty="0">
                <a:solidFill>
                  <a:srgbClr val="2ABEC1"/>
                </a:solidFill>
                <a:latin typeface="Arial Black"/>
                <a:cs typeface="Arial Black"/>
              </a:rPr>
              <a:t> </a:t>
            </a:r>
            <a:r>
              <a:rPr sz="2400" spc="-136" dirty="0">
                <a:solidFill>
                  <a:srgbClr val="2ABEC1"/>
                </a:solidFill>
                <a:latin typeface="Arial Black"/>
                <a:cs typeface="Arial Black"/>
              </a:rPr>
              <a:t>make</a:t>
            </a:r>
            <a:r>
              <a:rPr sz="2400" spc="-169" dirty="0">
                <a:solidFill>
                  <a:srgbClr val="2ABEC1"/>
                </a:solidFill>
                <a:latin typeface="Arial Black"/>
                <a:cs typeface="Arial Black"/>
              </a:rPr>
              <a:t> </a:t>
            </a:r>
            <a:r>
              <a:rPr sz="2400" spc="-93" dirty="0">
                <a:solidFill>
                  <a:srgbClr val="2ABEC1"/>
                </a:solidFill>
                <a:latin typeface="Arial Black"/>
                <a:cs typeface="Arial Black"/>
              </a:rPr>
              <a:t>the</a:t>
            </a:r>
            <a:r>
              <a:rPr sz="2400" spc="-167" dirty="0">
                <a:solidFill>
                  <a:srgbClr val="2ABEC1"/>
                </a:solidFill>
                <a:latin typeface="Arial Black"/>
                <a:cs typeface="Arial Black"/>
              </a:rPr>
              <a:t> </a:t>
            </a:r>
            <a:r>
              <a:rPr sz="2400" spc="-33" dirty="0">
                <a:solidFill>
                  <a:srgbClr val="2ABEC1"/>
                </a:solidFill>
                <a:latin typeface="Arial Black"/>
                <a:cs typeface="Arial Black"/>
              </a:rPr>
              <a:t>“</a:t>
            </a:r>
            <a:r>
              <a:rPr sz="2400" b="1" i="1" spc="-33" dirty="0">
                <a:solidFill>
                  <a:srgbClr val="2ABEC1"/>
                </a:solidFill>
                <a:latin typeface="Trebuchet MS"/>
                <a:cs typeface="Trebuchet MS"/>
              </a:rPr>
              <a:t>Birth</a:t>
            </a:r>
            <a:r>
              <a:rPr sz="2400" b="1" i="1" spc="-90" dirty="0">
                <a:solidFill>
                  <a:srgbClr val="2ABEC1"/>
                </a:solidFill>
                <a:latin typeface="Trebuchet MS"/>
                <a:cs typeface="Trebuchet MS"/>
              </a:rPr>
              <a:t> </a:t>
            </a:r>
            <a:r>
              <a:rPr sz="2400" b="1" i="1" spc="-7" dirty="0">
                <a:solidFill>
                  <a:srgbClr val="2ABEC1"/>
                </a:solidFill>
                <a:latin typeface="Trebuchet MS"/>
                <a:cs typeface="Trebuchet MS"/>
              </a:rPr>
              <a:t>Experience </a:t>
            </a:r>
            <a:r>
              <a:rPr sz="2400" b="1" i="1" spc="-83" dirty="0">
                <a:solidFill>
                  <a:srgbClr val="2ABEC1"/>
                </a:solidFill>
                <a:latin typeface="Trebuchet MS"/>
                <a:cs typeface="Trebuchet MS"/>
              </a:rPr>
              <a:t>Better” </a:t>
            </a:r>
            <a:r>
              <a:rPr sz="2400" spc="-47" dirty="0">
                <a:solidFill>
                  <a:srgbClr val="2ABEC1"/>
                </a:solidFill>
                <a:latin typeface="Arial Black"/>
                <a:cs typeface="Arial Black"/>
              </a:rPr>
              <a:t>for</a:t>
            </a:r>
            <a:r>
              <a:rPr sz="2400" spc="-163" dirty="0">
                <a:solidFill>
                  <a:srgbClr val="2ABEC1"/>
                </a:solidFill>
                <a:latin typeface="Arial Black"/>
                <a:cs typeface="Arial Black"/>
              </a:rPr>
              <a:t> </a:t>
            </a:r>
            <a:r>
              <a:rPr sz="2400" spc="-110" dirty="0">
                <a:solidFill>
                  <a:srgbClr val="2ABEC1"/>
                </a:solidFill>
                <a:latin typeface="Arial Black"/>
                <a:cs typeface="Arial Black"/>
              </a:rPr>
              <a:t>all</a:t>
            </a:r>
            <a:r>
              <a:rPr sz="2400" spc="-163" dirty="0">
                <a:solidFill>
                  <a:srgbClr val="2ABEC1"/>
                </a:solidFill>
                <a:latin typeface="Arial Black"/>
                <a:cs typeface="Arial Black"/>
              </a:rPr>
              <a:t> </a:t>
            </a:r>
            <a:r>
              <a:rPr sz="2400" spc="-130" dirty="0">
                <a:solidFill>
                  <a:srgbClr val="2ABEC1"/>
                </a:solidFill>
                <a:latin typeface="Arial Black"/>
                <a:cs typeface="Arial Black"/>
              </a:rPr>
              <a:t>people,</a:t>
            </a:r>
            <a:r>
              <a:rPr sz="2400" spc="-163" dirty="0">
                <a:solidFill>
                  <a:srgbClr val="2ABEC1"/>
                </a:solidFill>
                <a:latin typeface="Arial Black"/>
                <a:cs typeface="Arial Black"/>
              </a:rPr>
              <a:t> </a:t>
            </a:r>
            <a:r>
              <a:rPr sz="2400" spc="-123" dirty="0">
                <a:solidFill>
                  <a:srgbClr val="2ABEC1"/>
                </a:solidFill>
                <a:latin typeface="Arial Black"/>
                <a:cs typeface="Arial Black"/>
              </a:rPr>
              <a:t>one</a:t>
            </a:r>
            <a:r>
              <a:rPr sz="2400" spc="-163" dirty="0">
                <a:solidFill>
                  <a:srgbClr val="2ABEC1"/>
                </a:solidFill>
                <a:latin typeface="Arial Black"/>
                <a:cs typeface="Arial Black"/>
              </a:rPr>
              <a:t> </a:t>
            </a:r>
            <a:r>
              <a:rPr sz="2400" spc="-83" dirty="0">
                <a:solidFill>
                  <a:srgbClr val="2ABEC1"/>
                </a:solidFill>
                <a:latin typeface="Arial Black"/>
                <a:cs typeface="Arial Black"/>
              </a:rPr>
              <a:t>family</a:t>
            </a:r>
            <a:r>
              <a:rPr sz="2400" spc="-163" dirty="0">
                <a:solidFill>
                  <a:srgbClr val="2ABEC1"/>
                </a:solidFill>
                <a:latin typeface="Arial Black"/>
                <a:cs typeface="Arial Black"/>
              </a:rPr>
              <a:t> </a:t>
            </a:r>
            <a:r>
              <a:rPr sz="2400" spc="-103" dirty="0">
                <a:solidFill>
                  <a:srgbClr val="2ABEC1"/>
                </a:solidFill>
                <a:latin typeface="Arial Black"/>
                <a:cs typeface="Arial Black"/>
              </a:rPr>
              <a:t>at</a:t>
            </a:r>
            <a:r>
              <a:rPr sz="2400" spc="-160" dirty="0">
                <a:solidFill>
                  <a:srgbClr val="2ABEC1"/>
                </a:solidFill>
                <a:latin typeface="Arial Black"/>
                <a:cs typeface="Arial Black"/>
              </a:rPr>
              <a:t> </a:t>
            </a:r>
            <a:r>
              <a:rPr sz="2400" spc="-33" dirty="0">
                <a:solidFill>
                  <a:srgbClr val="2ABEC1"/>
                </a:solidFill>
                <a:latin typeface="Arial Black"/>
                <a:cs typeface="Arial Black"/>
              </a:rPr>
              <a:t>a </a:t>
            </a:r>
            <a:r>
              <a:rPr sz="2400" spc="-7" dirty="0">
                <a:solidFill>
                  <a:srgbClr val="2ABEC1"/>
                </a:solidFill>
                <a:latin typeface="Arial Black"/>
                <a:cs typeface="Arial Black"/>
              </a:rPr>
              <a:t>time.</a:t>
            </a:r>
            <a:endParaRPr sz="2400">
              <a:latin typeface="Arial Black"/>
              <a:cs typeface="Arial Black"/>
            </a:endParaRPr>
          </a:p>
        </p:txBody>
      </p:sp>
      <p:sp>
        <p:nvSpPr>
          <p:cNvPr id="5" name="object 5"/>
          <p:cNvSpPr txBox="1"/>
          <p:nvPr/>
        </p:nvSpPr>
        <p:spPr>
          <a:xfrm>
            <a:off x="6011206" y="5343728"/>
            <a:ext cx="4819227" cy="596339"/>
          </a:xfrm>
          <a:prstGeom prst="rect">
            <a:avLst/>
          </a:prstGeom>
        </p:spPr>
        <p:txBody>
          <a:bodyPr vert="horz" wrap="square" lIns="0" tIns="8467" rIns="0" bIns="0" rtlCol="0">
            <a:spAutoFit/>
          </a:bodyPr>
          <a:lstStyle/>
          <a:p>
            <a:pPr marL="168494" marR="3387" indent="-160451">
              <a:lnSpc>
                <a:spcPct val="115399"/>
              </a:lnSpc>
              <a:spcBef>
                <a:spcPts val="67"/>
              </a:spcBef>
            </a:pPr>
            <a:r>
              <a:rPr sz="1733" b="1" i="1" spc="-83" dirty="0">
                <a:solidFill>
                  <a:srgbClr val="494E56"/>
                </a:solidFill>
                <a:latin typeface="Trebuchet MS"/>
                <a:cs typeface="Trebuchet MS"/>
              </a:rPr>
              <a:t>PRESENTED</a:t>
            </a:r>
            <a:r>
              <a:rPr sz="1733" b="1" i="1" spc="-73" dirty="0">
                <a:solidFill>
                  <a:srgbClr val="494E56"/>
                </a:solidFill>
                <a:latin typeface="Trebuchet MS"/>
                <a:cs typeface="Trebuchet MS"/>
              </a:rPr>
              <a:t> </a:t>
            </a:r>
            <a:r>
              <a:rPr sz="1733" b="1" i="1" spc="-80" dirty="0">
                <a:solidFill>
                  <a:srgbClr val="494E56"/>
                </a:solidFill>
                <a:latin typeface="Trebuchet MS"/>
                <a:cs typeface="Trebuchet MS"/>
              </a:rPr>
              <a:t>BY:</a:t>
            </a:r>
            <a:r>
              <a:rPr sz="1733" b="1" i="1" spc="-70" dirty="0">
                <a:solidFill>
                  <a:srgbClr val="494E56"/>
                </a:solidFill>
                <a:latin typeface="Trebuchet MS"/>
                <a:cs typeface="Trebuchet MS"/>
              </a:rPr>
              <a:t> </a:t>
            </a:r>
            <a:r>
              <a:rPr sz="1733" b="1" i="1" dirty="0">
                <a:solidFill>
                  <a:srgbClr val="494E56"/>
                </a:solidFill>
                <a:latin typeface="Trebuchet MS"/>
                <a:cs typeface="Trebuchet MS"/>
              </a:rPr>
              <a:t>MARVELLA</a:t>
            </a:r>
            <a:r>
              <a:rPr sz="1733" b="1" i="1" spc="-70" dirty="0">
                <a:solidFill>
                  <a:srgbClr val="494E56"/>
                </a:solidFill>
                <a:latin typeface="Trebuchet MS"/>
                <a:cs typeface="Trebuchet MS"/>
              </a:rPr>
              <a:t> </a:t>
            </a:r>
            <a:r>
              <a:rPr sz="1733" b="1" i="1" dirty="0">
                <a:solidFill>
                  <a:srgbClr val="494E56"/>
                </a:solidFill>
                <a:latin typeface="Trebuchet MS"/>
                <a:cs typeface="Trebuchet MS"/>
              </a:rPr>
              <a:t>YING;</a:t>
            </a:r>
            <a:r>
              <a:rPr sz="1733" b="1" i="1" spc="-73" dirty="0">
                <a:solidFill>
                  <a:srgbClr val="494E56"/>
                </a:solidFill>
                <a:latin typeface="Trebuchet MS"/>
                <a:cs typeface="Trebuchet MS"/>
              </a:rPr>
              <a:t> </a:t>
            </a:r>
            <a:r>
              <a:rPr sz="1733" b="1" i="1" spc="-13" dirty="0">
                <a:solidFill>
                  <a:srgbClr val="494E56"/>
                </a:solidFill>
                <a:latin typeface="Trebuchet MS"/>
                <a:cs typeface="Trebuchet MS"/>
              </a:rPr>
              <a:t>BS,</a:t>
            </a:r>
            <a:r>
              <a:rPr sz="1733" b="1" i="1" spc="-70" dirty="0">
                <a:solidFill>
                  <a:srgbClr val="494E56"/>
                </a:solidFill>
                <a:latin typeface="Trebuchet MS"/>
                <a:cs typeface="Trebuchet MS"/>
              </a:rPr>
              <a:t> </a:t>
            </a:r>
            <a:r>
              <a:rPr sz="1733" b="1" i="1" dirty="0">
                <a:solidFill>
                  <a:srgbClr val="494E56"/>
                </a:solidFill>
                <a:latin typeface="Trebuchet MS"/>
                <a:cs typeface="Trebuchet MS"/>
              </a:rPr>
              <a:t>CFSD,</a:t>
            </a:r>
            <a:r>
              <a:rPr sz="1733" b="1" i="1" spc="-70" dirty="0">
                <a:solidFill>
                  <a:srgbClr val="494E56"/>
                </a:solidFill>
                <a:latin typeface="Trebuchet MS"/>
                <a:cs typeface="Trebuchet MS"/>
              </a:rPr>
              <a:t> </a:t>
            </a:r>
            <a:r>
              <a:rPr sz="1733" b="1" i="1" spc="-17" dirty="0">
                <a:solidFill>
                  <a:srgbClr val="494E56"/>
                </a:solidFill>
                <a:latin typeface="Trebuchet MS"/>
                <a:cs typeface="Trebuchet MS"/>
              </a:rPr>
              <a:t>CBE </a:t>
            </a:r>
            <a:r>
              <a:rPr sz="1733" b="1" i="1" spc="-37" dirty="0">
                <a:solidFill>
                  <a:srgbClr val="494E56"/>
                </a:solidFill>
                <a:latin typeface="Trebuchet MS"/>
                <a:cs typeface="Trebuchet MS"/>
              </a:rPr>
              <a:t>(CHARITY</a:t>
            </a:r>
            <a:r>
              <a:rPr sz="1733" b="1" i="1" spc="-83" dirty="0">
                <a:solidFill>
                  <a:srgbClr val="494E56"/>
                </a:solidFill>
                <a:latin typeface="Trebuchet MS"/>
                <a:cs typeface="Trebuchet MS"/>
              </a:rPr>
              <a:t> </a:t>
            </a:r>
            <a:r>
              <a:rPr sz="1733" b="1" i="1" spc="-17" dirty="0">
                <a:solidFill>
                  <a:srgbClr val="494E56"/>
                </a:solidFill>
                <a:latin typeface="Trebuchet MS"/>
                <a:cs typeface="Trebuchet MS"/>
              </a:rPr>
              <a:t>ORGANIZER</a:t>
            </a:r>
            <a:r>
              <a:rPr sz="1733" b="1" i="1" spc="-80" dirty="0">
                <a:solidFill>
                  <a:srgbClr val="494E56"/>
                </a:solidFill>
                <a:latin typeface="Trebuchet MS"/>
                <a:cs typeface="Trebuchet MS"/>
              </a:rPr>
              <a:t> &amp;</a:t>
            </a:r>
            <a:r>
              <a:rPr sz="1733" b="1" i="1" spc="-83" dirty="0">
                <a:solidFill>
                  <a:srgbClr val="494E56"/>
                </a:solidFill>
                <a:latin typeface="Trebuchet MS"/>
                <a:cs typeface="Trebuchet MS"/>
              </a:rPr>
              <a:t> </a:t>
            </a:r>
            <a:r>
              <a:rPr sz="1733" b="1" i="1" spc="-23" dirty="0">
                <a:solidFill>
                  <a:srgbClr val="494E56"/>
                </a:solidFill>
                <a:latin typeface="Trebuchet MS"/>
                <a:cs typeface="Trebuchet MS"/>
              </a:rPr>
              <a:t>LEAD</a:t>
            </a:r>
            <a:r>
              <a:rPr sz="1733" b="1" i="1" spc="-80" dirty="0">
                <a:solidFill>
                  <a:srgbClr val="494E56"/>
                </a:solidFill>
                <a:latin typeface="Trebuchet MS"/>
                <a:cs typeface="Trebuchet MS"/>
              </a:rPr>
              <a:t> </a:t>
            </a:r>
            <a:r>
              <a:rPr sz="1733" b="1" i="1" spc="-33" dirty="0">
                <a:solidFill>
                  <a:srgbClr val="494E56"/>
                </a:solidFill>
                <a:latin typeface="Trebuchet MS"/>
                <a:cs typeface="Trebuchet MS"/>
              </a:rPr>
              <a:t>FACILITATOR</a:t>
            </a:r>
            <a:r>
              <a:rPr sz="1733" b="1" i="1" spc="-83" dirty="0">
                <a:solidFill>
                  <a:srgbClr val="494E56"/>
                </a:solidFill>
                <a:latin typeface="Trebuchet MS"/>
                <a:cs typeface="Trebuchet MS"/>
              </a:rPr>
              <a:t> </a:t>
            </a:r>
            <a:r>
              <a:rPr sz="1733" b="1" i="1" spc="-33" dirty="0">
                <a:solidFill>
                  <a:srgbClr val="494E56"/>
                </a:solidFill>
                <a:latin typeface="Trebuchet MS"/>
                <a:cs typeface="Trebuchet MS"/>
              </a:rPr>
              <a:t>)</a:t>
            </a:r>
            <a:endParaRPr sz="1733">
              <a:latin typeface="Trebuchet MS"/>
              <a:cs typeface="Trebuchet MS"/>
            </a:endParaRPr>
          </a:p>
        </p:txBody>
      </p:sp>
    </p:spTree>
    <p:extLst>
      <p:ext uri="{BB962C8B-B14F-4D97-AF65-F5344CB8AC3E}">
        <p14:creationId xmlns:p14="http://schemas.microsoft.com/office/powerpoint/2010/main" val="1394322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85800" y="206062"/>
            <a:ext cx="397933" cy="314113"/>
          </a:xfrm>
          <a:custGeom>
            <a:avLst/>
            <a:gdLst/>
            <a:ahLst/>
            <a:cxnLst/>
            <a:rect l="l" t="t" r="r" b="b"/>
            <a:pathLst>
              <a:path w="596900" h="471170">
                <a:moveTo>
                  <a:pt x="300899" y="457199"/>
                </a:moveTo>
                <a:lnTo>
                  <a:pt x="288535" y="457199"/>
                </a:lnTo>
                <a:lnTo>
                  <a:pt x="293194" y="450849"/>
                </a:lnTo>
                <a:lnTo>
                  <a:pt x="298350" y="444499"/>
                </a:lnTo>
                <a:lnTo>
                  <a:pt x="304092" y="438149"/>
                </a:lnTo>
                <a:lnTo>
                  <a:pt x="132438" y="438149"/>
                </a:lnTo>
                <a:lnTo>
                  <a:pt x="94863" y="430529"/>
                </a:lnTo>
                <a:lnTo>
                  <a:pt x="56256" y="386079"/>
                </a:lnTo>
                <a:lnTo>
                  <a:pt x="52113" y="355599"/>
                </a:lnTo>
                <a:lnTo>
                  <a:pt x="53044" y="341629"/>
                </a:lnTo>
                <a:lnTo>
                  <a:pt x="55631" y="327659"/>
                </a:lnTo>
                <a:lnTo>
                  <a:pt x="59105" y="317499"/>
                </a:lnTo>
                <a:lnTo>
                  <a:pt x="62780" y="309879"/>
                </a:lnTo>
                <a:lnTo>
                  <a:pt x="35169" y="275589"/>
                </a:lnTo>
                <a:lnTo>
                  <a:pt x="15566" y="238759"/>
                </a:lnTo>
                <a:lnTo>
                  <a:pt x="3875" y="198119"/>
                </a:lnTo>
                <a:lnTo>
                  <a:pt x="0" y="153669"/>
                </a:lnTo>
                <a:lnTo>
                  <a:pt x="9303" y="106679"/>
                </a:lnTo>
                <a:lnTo>
                  <a:pt x="32053" y="66039"/>
                </a:lnTo>
                <a:lnTo>
                  <a:pt x="64487" y="34289"/>
                </a:lnTo>
                <a:lnTo>
                  <a:pt x="102840" y="11429"/>
                </a:lnTo>
                <a:lnTo>
                  <a:pt x="143350" y="0"/>
                </a:lnTo>
                <a:lnTo>
                  <a:pt x="189709" y="0"/>
                </a:lnTo>
                <a:lnTo>
                  <a:pt x="211574" y="8889"/>
                </a:lnTo>
                <a:lnTo>
                  <a:pt x="144703" y="8889"/>
                </a:lnTo>
                <a:lnTo>
                  <a:pt x="106481" y="20319"/>
                </a:lnTo>
                <a:lnTo>
                  <a:pt x="70295" y="41909"/>
                </a:lnTo>
                <a:lnTo>
                  <a:pt x="39694" y="72389"/>
                </a:lnTo>
                <a:lnTo>
                  <a:pt x="18232" y="109219"/>
                </a:lnTo>
                <a:lnTo>
                  <a:pt x="9459" y="153669"/>
                </a:lnTo>
                <a:lnTo>
                  <a:pt x="13300" y="196849"/>
                </a:lnTo>
                <a:lnTo>
                  <a:pt x="24892" y="236219"/>
                </a:lnTo>
                <a:lnTo>
                  <a:pt x="44344" y="273049"/>
                </a:lnTo>
                <a:lnTo>
                  <a:pt x="71762" y="306069"/>
                </a:lnTo>
                <a:lnTo>
                  <a:pt x="86084" y="309879"/>
                </a:lnTo>
                <a:lnTo>
                  <a:pt x="268308" y="309879"/>
                </a:lnTo>
                <a:lnTo>
                  <a:pt x="259714" y="314959"/>
                </a:lnTo>
                <a:lnTo>
                  <a:pt x="70443" y="314959"/>
                </a:lnTo>
                <a:lnTo>
                  <a:pt x="67397" y="322579"/>
                </a:lnTo>
                <a:lnTo>
                  <a:pt x="64502" y="331469"/>
                </a:lnTo>
                <a:lnTo>
                  <a:pt x="62339" y="342899"/>
                </a:lnTo>
                <a:lnTo>
                  <a:pt x="61489" y="356869"/>
                </a:lnTo>
                <a:lnTo>
                  <a:pt x="66327" y="387349"/>
                </a:lnTo>
                <a:lnTo>
                  <a:pt x="80303" y="408939"/>
                </a:lnTo>
                <a:lnTo>
                  <a:pt x="102609" y="422909"/>
                </a:lnTo>
                <a:lnTo>
                  <a:pt x="132438" y="427989"/>
                </a:lnTo>
                <a:lnTo>
                  <a:pt x="255416" y="427989"/>
                </a:lnTo>
                <a:lnTo>
                  <a:pt x="294536" y="429259"/>
                </a:lnTo>
                <a:lnTo>
                  <a:pt x="375512" y="429259"/>
                </a:lnTo>
                <a:lnTo>
                  <a:pt x="366273" y="431799"/>
                </a:lnTo>
                <a:lnTo>
                  <a:pt x="343414" y="435609"/>
                </a:lnTo>
                <a:lnTo>
                  <a:pt x="318637" y="438149"/>
                </a:lnTo>
                <a:lnTo>
                  <a:pt x="311292" y="444499"/>
                </a:lnTo>
                <a:lnTo>
                  <a:pt x="304487" y="452119"/>
                </a:lnTo>
                <a:lnTo>
                  <a:pt x="300899" y="457199"/>
                </a:lnTo>
                <a:close/>
              </a:path>
              <a:path w="596900" h="471170">
                <a:moveTo>
                  <a:pt x="300351" y="92709"/>
                </a:moveTo>
                <a:lnTo>
                  <a:pt x="288526" y="92709"/>
                </a:lnTo>
                <a:lnTo>
                  <a:pt x="313316" y="48259"/>
                </a:lnTo>
                <a:lnTo>
                  <a:pt x="346733" y="16509"/>
                </a:lnTo>
                <a:lnTo>
                  <a:pt x="387342" y="0"/>
                </a:lnTo>
                <a:lnTo>
                  <a:pt x="433707" y="0"/>
                </a:lnTo>
                <a:lnTo>
                  <a:pt x="465063" y="8889"/>
                </a:lnTo>
                <a:lnTo>
                  <a:pt x="432349" y="8889"/>
                </a:lnTo>
                <a:lnTo>
                  <a:pt x="386499" y="10159"/>
                </a:lnTo>
                <a:lnTo>
                  <a:pt x="347181" y="27939"/>
                </a:lnTo>
                <a:lnTo>
                  <a:pt x="315616" y="60959"/>
                </a:lnTo>
                <a:lnTo>
                  <a:pt x="300351" y="92709"/>
                </a:lnTo>
                <a:close/>
              </a:path>
              <a:path w="596900" h="471170">
                <a:moveTo>
                  <a:pt x="290574" y="111759"/>
                </a:moveTo>
                <a:lnTo>
                  <a:pt x="286478" y="111759"/>
                </a:lnTo>
                <a:lnTo>
                  <a:pt x="284662" y="110489"/>
                </a:lnTo>
                <a:lnTo>
                  <a:pt x="284028" y="107949"/>
                </a:lnTo>
                <a:lnTo>
                  <a:pt x="261434" y="60959"/>
                </a:lnTo>
                <a:lnTo>
                  <a:pt x="229869" y="27939"/>
                </a:lnTo>
                <a:lnTo>
                  <a:pt x="190553" y="10159"/>
                </a:lnTo>
                <a:lnTo>
                  <a:pt x="144703" y="8889"/>
                </a:lnTo>
                <a:lnTo>
                  <a:pt x="211574" y="8889"/>
                </a:lnTo>
                <a:lnTo>
                  <a:pt x="230316" y="16509"/>
                </a:lnTo>
                <a:lnTo>
                  <a:pt x="263734" y="48259"/>
                </a:lnTo>
                <a:lnTo>
                  <a:pt x="288526" y="92709"/>
                </a:lnTo>
                <a:lnTo>
                  <a:pt x="300351" y="92709"/>
                </a:lnTo>
                <a:lnTo>
                  <a:pt x="293024" y="107949"/>
                </a:lnTo>
                <a:lnTo>
                  <a:pt x="292390" y="110489"/>
                </a:lnTo>
                <a:lnTo>
                  <a:pt x="290574" y="111759"/>
                </a:lnTo>
                <a:close/>
              </a:path>
              <a:path w="596900" h="471170">
                <a:moveTo>
                  <a:pt x="458784" y="182879"/>
                </a:moveTo>
                <a:lnTo>
                  <a:pt x="368755" y="182879"/>
                </a:lnTo>
                <a:lnTo>
                  <a:pt x="387774" y="181609"/>
                </a:lnTo>
                <a:lnTo>
                  <a:pt x="435200" y="176529"/>
                </a:lnTo>
                <a:lnTo>
                  <a:pt x="499069" y="167639"/>
                </a:lnTo>
                <a:lnTo>
                  <a:pt x="567418" y="151129"/>
                </a:lnTo>
                <a:lnTo>
                  <a:pt x="553477" y="97789"/>
                </a:lnTo>
                <a:lnTo>
                  <a:pt x="521888" y="54609"/>
                </a:lnTo>
                <a:lnTo>
                  <a:pt x="479297" y="24129"/>
                </a:lnTo>
                <a:lnTo>
                  <a:pt x="432349" y="8889"/>
                </a:lnTo>
                <a:lnTo>
                  <a:pt x="465063" y="8889"/>
                </a:lnTo>
                <a:lnTo>
                  <a:pt x="512216" y="34289"/>
                </a:lnTo>
                <a:lnTo>
                  <a:pt x="544580" y="66039"/>
                </a:lnTo>
                <a:lnTo>
                  <a:pt x="567408" y="105409"/>
                </a:lnTo>
                <a:lnTo>
                  <a:pt x="576991" y="152399"/>
                </a:lnTo>
                <a:lnTo>
                  <a:pt x="581084" y="160019"/>
                </a:lnTo>
                <a:lnTo>
                  <a:pt x="570530" y="160019"/>
                </a:lnTo>
                <a:lnTo>
                  <a:pt x="509216" y="175259"/>
                </a:lnTo>
                <a:lnTo>
                  <a:pt x="458784" y="182879"/>
                </a:lnTo>
                <a:close/>
              </a:path>
              <a:path w="596900" h="471170">
                <a:moveTo>
                  <a:pt x="202521" y="309879"/>
                </a:moveTo>
                <a:lnTo>
                  <a:pt x="190058" y="309879"/>
                </a:lnTo>
                <a:lnTo>
                  <a:pt x="188554" y="307339"/>
                </a:lnTo>
                <a:lnTo>
                  <a:pt x="188369" y="303529"/>
                </a:lnTo>
                <a:lnTo>
                  <a:pt x="188800" y="299719"/>
                </a:lnTo>
                <a:lnTo>
                  <a:pt x="181038" y="297179"/>
                </a:lnTo>
                <a:lnTo>
                  <a:pt x="175797" y="293369"/>
                </a:lnTo>
                <a:lnTo>
                  <a:pt x="170277" y="281939"/>
                </a:lnTo>
                <a:lnTo>
                  <a:pt x="171550" y="275589"/>
                </a:lnTo>
                <a:lnTo>
                  <a:pt x="173153" y="271779"/>
                </a:lnTo>
                <a:lnTo>
                  <a:pt x="165527" y="266699"/>
                </a:lnTo>
                <a:lnTo>
                  <a:pt x="160631" y="261619"/>
                </a:lnTo>
                <a:lnTo>
                  <a:pt x="158135" y="255269"/>
                </a:lnTo>
                <a:lnTo>
                  <a:pt x="157705" y="248919"/>
                </a:lnTo>
                <a:lnTo>
                  <a:pt x="158311" y="242569"/>
                </a:lnTo>
                <a:lnTo>
                  <a:pt x="162435" y="236219"/>
                </a:lnTo>
                <a:lnTo>
                  <a:pt x="168348" y="233679"/>
                </a:lnTo>
                <a:lnTo>
                  <a:pt x="164526" y="228599"/>
                </a:lnTo>
                <a:lnTo>
                  <a:pt x="163003" y="223519"/>
                </a:lnTo>
                <a:lnTo>
                  <a:pt x="163490" y="219709"/>
                </a:lnTo>
                <a:lnTo>
                  <a:pt x="165478" y="212089"/>
                </a:lnTo>
                <a:lnTo>
                  <a:pt x="169955" y="207009"/>
                </a:lnTo>
                <a:lnTo>
                  <a:pt x="176774" y="203199"/>
                </a:lnTo>
                <a:lnTo>
                  <a:pt x="185792" y="201929"/>
                </a:lnTo>
                <a:lnTo>
                  <a:pt x="283295" y="201929"/>
                </a:lnTo>
                <a:lnTo>
                  <a:pt x="278815" y="198119"/>
                </a:lnTo>
                <a:lnTo>
                  <a:pt x="273247" y="194309"/>
                </a:lnTo>
                <a:lnTo>
                  <a:pt x="267057" y="191769"/>
                </a:lnTo>
                <a:lnTo>
                  <a:pt x="260709" y="189229"/>
                </a:lnTo>
                <a:lnTo>
                  <a:pt x="251789" y="185419"/>
                </a:lnTo>
                <a:lnTo>
                  <a:pt x="248099" y="184149"/>
                </a:lnTo>
                <a:lnTo>
                  <a:pt x="239059" y="177799"/>
                </a:lnTo>
                <a:lnTo>
                  <a:pt x="234759" y="171449"/>
                </a:lnTo>
                <a:lnTo>
                  <a:pt x="233578" y="166369"/>
                </a:lnTo>
                <a:lnTo>
                  <a:pt x="233895" y="162559"/>
                </a:lnTo>
                <a:lnTo>
                  <a:pt x="235598" y="154939"/>
                </a:lnTo>
                <a:lnTo>
                  <a:pt x="242958" y="149859"/>
                </a:lnTo>
                <a:lnTo>
                  <a:pt x="252143" y="149859"/>
                </a:lnTo>
                <a:lnTo>
                  <a:pt x="297340" y="152399"/>
                </a:lnTo>
                <a:lnTo>
                  <a:pt x="321097" y="158749"/>
                </a:lnTo>
                <a:lnTo>
                  <a:pt x="247480" y="158749"/>
                </a:lnTo>
                <a:lnTo>
                  <a:pt x="243847" y="161289"/>
                </a:lnTo>
                <a:lnTo>
                  <a:pt x="242291" y="168909"/>
                </a:lnTo>
                <a:lnTo>
                  <a:pt x="245706" y="172719"/>
                </a:lnTo>
                <a:lnTo>
                  <a:pt x="252276" y="175259"/>
                </a:lnTo>
                <a:lnTo>
                  <a:pt x="255714" y="177799"/>
                </a:lnTo>
                <a:lnTo>
                  <a:pt x="291698" y="196849"/>
                </a:lnTo>
                <a:lnTo>
                  <a:pt x="296435" y="205739"/>
                </a:lnTo>
                <a:lnTo>
                  <a:pt x="296108" y="208279"/>
                </a:lnTo>
                <a:lnTo>
                  <a:pt x="294316" y="209549"/>
                </a:lnTo>
                <a:lnTo>
                  <a:pt x="292949" y="210819"/>
                </a:lnTo>
                <a:lnTo>
                  <a:pt x="177760" y="210819"/>
                </a:lnTo>
                <a:lnTo>
                  <a:pt x="173380" y="215899"/>
                </a:lnTo>
                <a:lnTo>
                  <a:pt x="172449" y="224789"/>
                </a:lnTo>
                <a:lnTo>
                  <a:pt x="175391" y="229869"/>
                </a:lnTo>
                <a:lnTo>
                  <a:pt x="184997" y="232409"/>
                </a:lnTo>
                <a:lnTo>
                  <a:pt x="202611" y="233679"/>
                </a:lnTo>
                <a:lnTo>
                  <a:pt x="250997" y="236219"/>
                </a:lnTo>
                <a:lnTo>
                  <a:pt x="280362" y="236219"/>
                </a:lnTo>
                <a:lnTo>
                  <a:pt x="282467" y="238759"/>
                </a:lnTo>
                <a:lnTo>
                  <a:pt x="282495" y="240029"/>
                </a:lnTo>
                <a:lnTo>
                  <a:pt x="171924" y="240029"/>
                </a:lnTo>
                <a:lnTo>
                  <a:pt x="167553" y="245109"/>
                </a:lnTo>
                <a:lnTo>
                  <a:pt x="187499" y="266699"/>
                </a:lnTo>
                <a:lnTo>
                  <a:pt x="196178" y="266699"/>
                </a:lnTo>
                <a:lnTo>
                  <a:pt x="218072" y="267969"/>
                </a:lnTo>
                <a:lnTo>
                  <a:pt x="247321" y="269239"/>
                </a:lnTo>
                <a:lnTo>
                  <a:pt x="282916" y="269239"/>
                </a:lnTo>
                <a:lnTo>
                  <a:pt x="283247" y="274319"/>
                </a:lnTo>
                <a:lnTo>
                  <a:pt x="182126" y="274319"/>
                </a:lnTo>
                <a:lnTo>
                  <a:pt x="181100" y="276859"/>
                </a:lnTo>
                <a:lnTo>
                  <a:pt x="180158" y="280669"/>
                </a:lnTo>
                <a:lnTo>
                  <a:pt x="184084" y="289559"/>
                </a:lnTo>
                <a:lnTo>
                  <a:pt x="191572" y="292099"/>
                </a:lnTo>
                <a:lnTo>
                  <a:pt x="203392" y="293369"/>
                </a:lnTo>
                <a:lnTo>
                  <a:pt x="209757" y="293369"/>
                </a:lnTo>
                <a:lnTo>
                  <a:pt x="226443" y="294639"/>
                </a:lnTo>
                <a:lnTo>
                  <a:pt x="303734" y="294639"/>
                </a:lnTo>
                <a:lnTo>
                  <a:pt x="285884" y="302259"/>
                </a:lnTo>
                <a:lnTo>
                  <a:pt x="198056" y="302259"/>
                </a:lnTo>
                <a:lnTo>
                  <a:pt x="197844" y="304799"/>
                </a:lnTo>
                <a:lnTo>
                  <a:pt x="198619" y="307339"/>
                </a:lnTo>
                <a:lnTo>
                  <a:pt x="202521" y="309879"/>
                </a:lnTo>
                <a:close/>
              </a:path>
              <a:path w="596900" h="471170">
                <a:moveTo>
                  <a:pt x="479479" y="306069"/>
                </a:moveTo>
                <a:lnTo>
                  <a:pt x="356141" y="306069"/>
                </a:lnTo>
                <a:lnTo>
                  <a:pt x="360492" y="304799"/>
                </a:lnTo>
                <a:lnTo>
                  <a:pt x="364196" y="302259"/>
                </a:lnTo>
                <a:lnTo>
                  <a:pt x="364196" y="194309"/>
                </a:lnTo>
                <a:lnTo>
                  <a:pt x="355095" y="185419"/>
                </a:lnTo>
                <a:lnTo>
                  <a:pt x="334703" y="173989"/>
                </a:lnTo>
                <a:lnTo>
                  <a:pt x="301037" y="163829"/>
                </a:lnTo>
                <a:lnTo>
                  <a:pt x="252115" y="158749"/>
                </a:lnTo>
                <a:lnTo>
                  <a:pt x="321097" y="158749"/>
                </a:lnTo>
                <a:lnTo>
                  <a:pt x="330599" y="161289"/>
                </a:lnTo>
                <a:lnTo>
                  <a:pt x="353285" y="172719"/>
                </a:lnTo>
                <a:lnTo>
                  <a:pt x="366759" y="182879"/>
                </a:lnTo>
                <a:lnTo>
                  <a:pt x="458784" y="182879"/>
                </a:lnTo>
                <a:lnTo>
                  <a:pt x="450378" y="184149"/>
                </a:lnTo>
                <a:lnTo>
                  <a:pt x="402400" y="189229"/>
                </a:lnTo>
                <a:lnTo>
                  <a:pt x="373665" y="191769"/>
                </a:lnTo>
                <a:lnTo>
                  <a:pt x="373665" y="300989"/>
                </a:lnTo>
                <a:lnTo>
                  <a:pt x="422222" y="304799"/>
                </a:lnTo>
                <a:lnTo>
                  <a:pt x="485704" y="304799"/>
                </a:lnTo>
                <a:lnTo>
                  <a:pt x="479479" y="306069"/>
                </a:lnTo>
                <a:close/>
              </a:path>
              <a:path w="596900" h="471170">
                <a:moveTo>
                  <a:pt x="485704" y="304799"/>
                </a:moveTo>
                <a:lnTo>
                  <a:pt x="422222" y="304799"/>
                </a:lnTo>
                <a:lnTo>
                  <a:pt x="470643" y="298449"/>
                </a:lnTo>
                <a:lnTo>
                  <a:pt x="515118" y="284479"/>
                </a:lnTo>
                <a:lnTo>
                  <a:pt x="551838" y="262889"/>
                </a:lnTo>
                <a:lnTo>
                  <a:pt x="576991" y="236219"/>
                </a:lnTo>
                <a:lnTo>
                  <a:pt x="584960" y="218439"/>
                </a:lnTo>
                <a:lnTo>
                  <a:pt x="586521" y="199389"/>
                </a:lnTo>
                <a:lnTo>
                  <a:pt x="581702" y="179069"/>
                </a:lnTo>
                <a:lnTo>
                  <a:pt x="570530" y="160019"/>
                </a:lnTo>
                <a:lnTo>
                  <a:pt x="581084" y="160019"/>
                </a:lnTo>
                <a:lnTo>
                  <a:pt x="591997" y="180339"/>
                </a:lnTo>
                <a:lnTo>
                  <a:pt x="596276" y="204469"/>
                </a:lnTo>
                <a:lnTo>
                  <a:pt x="592923" y="224789"/>
                </a:lnTo>
                <a:lnTo>
                  <a:pt x="564300" y="265429"/>
                </a:lnTo>
                <a:lnTo>
                  <a:pt x="535330" y="285749"/>
                </a:lnTo>
                <a:lnTo>
                  <a:pt x="527768" y="294639"/>
                </a:lnTo>
                <a:lnTo>
                  <a:pt x="515336" y="294639"/>
                </a:lnTo>
                <a:lnTo>
                  <a:pt x="491929" y="303529"/>
                </a:lnTo>
                <a:lnTo>
                  <a:pt x="485704" y="304799"/>
                </a:lnTo>
                <a:close/>
              </a:path>
              <a:path w="596900" h="471170">
                <a:moveTo>
                  <a:pt x="280514" y="245109"/>
                </a:moveTo>
                <a:lnTo>
                  <a:pt x="242349" y="245109"/>
                </a:lnTo>
                <a:lnTo>
                  <a:pt x="199519" y="242569"/>
                </a:lnTo>
                <a:lnTo>
                  <a:pt x="183663" y="241299"/>
                </a:lnTo>
                <a:lnTo>
                  <a:pt x="182041" y="241299"/>
                </a:lnTo>
                <a:lnTo>
                  <a:pt x="180589" y="240029"/>
                </a:lnTo>
                <a:lnTo>
                  <a:pt x="282495" y="240029"/>
                </a:lnTo>
                <a:lnTo>
                  <a:pt x="282581" y="243839"/>
                </a:lnTo>
                <a:lnTo>
                  <a:pt x="280514" y="245109"/>
                </a:lnTo>
                <a:close/>
              </a:path>
              <a:path w="596900" h="471170">
                <a:moveTo>
                  <a:pt x="282916" y="269239"/>
                </a:moveTo>
                <a:lnTo>
                  <a:pt x="247321" y="269239"/>
                </a:lnTo>
                <a:lnTo>
                  <a:pt x="278063" y="267969"/>
                </a:lnTo>
                <a:lnTo>
                  <a:pt x="280618" y="267969"/>
                </a:lnTo>
                <a:lnTo>
                  <a:pt x="282916" y="269239"/>
                </a:lnTo>
                <a:close/>
              </a:path>
              <a:path w="596900" h="471170">
                <a:moveTo>
                  <a:pt x="271585" y="278129"/>
                </a:moveTo>
                <a:lnTo>
                  <a:pt x="226218" y="278129"/>
                </a:lnTo>
                <a:lnTo>
                  <a:pt x="206058" y="276859"/>
                </a:lnTo>
                <a:lnTo>
                  <a:pt x="191885" y="275589"/>
                </a:lnTo>
                <a:lnTo>
                  <a:pt x="183479" y="275589"/>
                </a:lnTo>
                <a:lnTo>
                  <a:pt x="182126" y="274319"/>
                </a:lnTo>
                <a:lnTo>
                  <a:pt x="283247" y="274319"/>
                </a:lnTo>
                <a:lnTo>
                  <a:pt x="281266" y="276859"/>
                </a:lnTo>
                <a:lnTo>
                  <a:pt x="278655" y="276859"/>
                </a:lnTo>
                <a:lnTo>
                  <a:pt x="271585" y="278129"/>
                </a:lnTo>
                <a:close/>
              </a:path>
              <a:path w="596900" h="471170">
                <a:moveTo>
                  <a:pt x="303734" y="294639"/>
                </a:moveTo>
                <a:lnTo>
                  <a:pt x="278158" y="294639"/>
                </a:lnTo>
                <a:lnTo>
                  <a:pt x="291769" y="288289"/>
                </a:lnTo>
                <a:lnTo>
                  <a:pt x="320678" y="278129"/>
                </a:lnTo>
                <a:lnTo>
                  <a:pt x="334364" y="275589"/>
                </a:lnTo>
                <a:lnTo>
                  <a:pt x="342110" y="275589"/>
                </a:lnTo>
                <a:lnTo>
                  <a:pt x="348923" y="276859"/>
                </a:lnTo>
                <a:lnTo>
                  <a:pt x="354390" y="280669"/>
                </a:lnTo>
                <a:lnTo>
                  <a:pt x="357168" y="284479"/>
                </a:lnTo>
                <a:lnTo>
                  <a:pt x="343157" y="284479"/>
                </a:lnTo>
                <a:lnTo>
                  <a:pt x="335684" y="285749"/>
                </a:lnTo>
                <a:lnTo>
                  <a:pt x="312687" y="290829"/>
                </a:lnTo>
                <a:lnTo>
                  <a:pt x="303734" y="294639"/>
                </a:lnTo>
                <a:close/>
              </a:path>
              <a:path w="596900" h="471170">
                <a:moveTo>
                  <a:pt x="315354" y="334009"/>
                </a:moveTo>
                <a:lnTo>
                  <a:pt x="313363" y="334009"/>
                </a:lnTo>
                <a:lnTo>
                  <a:pt x="311438" y="332739"/>
                </a:lnTo>
                <a:lnTo>
                  <a:pt x="310028" y="328929"/>
                </a:lnTo>
                <a:lnTo>
                  <a:pt x="310653" y="326389"/>
                </a:lnTo>
                <a:lnTo>
                  <a:pt x="346132" y="298449"/>
                </a:lnTo>
                <a:lnTo>
                  <a:pt x="349490" y="295909"/>
                </a:lnTo>
                <a:lnTo>
                  <a:pt x="350753" y="293369"/>
                </a:lnTo>
                <a:lnTo>
                  <a:pt x="348000" y="287019"/>
                </a:lnTo>
                <a:lnTo>
                  <a:pt x="343157" y="284479"/>
                </a:lnTo>
                <a:lnTo>
                  <a:pt x="357168" y="284479"/>
                </a:lnTo>
                <a:lnTo>
                  <a:pt x="358094" y="285749"/>
                </a:lnTo>
                <a:lnTo>
                  <a:pt x="361159" y="293369"/>
                </a:lnTo>
                <a:lnTo>
                  <a:pt x="358770" y="300989"/>
                </a:lnTo>
                <a:lnTo>
                  <a:pt x="351988" y="306069"/>
                </a:lnTo>
                <a:lnTo>
                  <a:pt x="479479" y="306069"/>
                </a:lnTo>
                <a:lnTo>
                  <a:pt x="467028" y="308609"/>
                </a:lnTo>
                <a:lnTo>
                  <a:pt x="458396" y="309879"/>
                </a:lnTo>
                <a:lnTo>
                  <a:pt x="369839" y="309879"/>
                </a:lnTo>
                <a:lnTo>
                  <a:pt x="360877" y="313689"/>
                </a:lnTo>
                <a:lnTo>
                  <a:pt x="351639" y="316229"/>
                </a:lnTo>
                <a:lnTo>
                  <a:pt x="343524" y="317499"/>
                </a:lnTo>
                <a:lnTo>
                  <a:pt x="337930" y="317499"/>
                </a:lnTo>
                <a:lnTo>
                  <a:pt x="329672" y="323849"/>
                </a:lnTo>
                <a:lnTo>
                  <a:pt x="430050" y="323849"/>
                </a:lnTo>
                <a:lnTo>
                  <a:pt x="432033" y="325119"/>
                </a:lnTo>
                <a:lnTo>
                  <a:pt x="436233" y="330199"/>
                </a:lnTo>
                <a:lnTo>
                  <a:pt x="419408" y="330199"/>
                </a:lnTo>
                <a:lnTo>
                  <a:pt x="315354" y="334009"/>
                </a:lnTo>
                <a:close/>
              </a:path>
              <a:path w="596900" h="471170">
                <a:moveTo>
                  <a:pt x="326616" y="419099"/>
                </a:moveTo>
                <a:lnTo>
                  <a:pt x="323887" y="419099"/>
                </a:lnTo>
                <a:lnTo>
                  <a:pt x="321844" y="417829"/>
                </a:lnTo>
                <a:lnTo>
                  <a:pt x="321281" y="412749"/>
                </a:lnTo>
                <a:lnTo>
                  <a:pt x="323149" y="410209"/>
                </a:lnTo>
                <a:lnTo>
                  <a:pt x="384156" y="403859"/>
                </a:lnTo>
                <a:lnTo>
                  <a:pt x="397917" y="400049"/>
                </a:lnTo>
                <a:lnTo>
                  <a:pt x="406859" y="394969"/>
                </a:lnTo>
                <a:lnTo>
                  <a:pt x="412010" y="389889"/>
                </a:lnTo>
                <a:lnTo>
                  <a:pt x="414399" y="386079"/>
                </a:lnTo>
                <a:lnTo>
                  <a:pt x="326247" y="386079"/>
                </a:lnTo>
                <a:lnTo>
                  <a:pt x="359998" y="383539"/>
                </a:lnTo>
                <a:lnTo>
                  <a:pt x="388649" y="380999"/>
                </a:lnTo>
                <a:lnTo>
                  <a:pt x="408604" y="377189"/>
                </a:lnTo>
                <a:lnTo>
                  <a:pt x="416268" y="375919"/>
                </a:lnTo>
                <a:lnTo>
                  <a:pt x="428646" y="373379"/>
                </a:lnTo>
                <a:lnTo>
                  <a:pt x="435405" y="368299"/>
                </a:lnTo>
                <a:lnTo>
                  <a:pt x="434643" y="358139"/>
                </a:lnTo>
                <a:lnTo>
                  <a:pt x="431276" y="355599"/>
                </a:lnTo>
                <a:lnTo>
                  <a:pt x="429327" y="354329"/>
                </a:lnTo>
                <a:lnTo>
                  <a:pt x="441824" y="354329"/>
                </a:lnTo>
                <a:lnTo>
                  <a:pt x="463864" y="339089"/>
                </a:lnTo>
                <a:lnTo>
                  <a:pt x="483346" y="325119"/>
                </a:lnTo>
                <a:lnTo>
                  <a:pt x="500445" y="309879"/>
                </a:lnTo>
                <a:lnTo>
                  <a:pt x="515336" y="294639"/>
                </a:lnTo>
                <a:lnTo>
                  <a:pt x="527768" y="294639"/>
                </a:lnTo>
                <a:lnTo>
                  <a:pt x="518046" y="306069"/>
                </a:lnTo>
                <a:lnTo>
                  <a:pt x="497382" y="325119"/>
                </a:lnTo>
                <a:lnTo>
                  <a:pt x="472966" y="344169"/>
                </a:lnTo>
                <a:lnTo>
                  <a:pt x="444425" y="363219"/>
                </a:lnTo>
                <a:lnTo>
                  <a:pt x="443618" y="368299"/>
                </a:lnTo>
                <a:lnTo>
                  <a:pt x="440713" y="373379"/>
                </a:lnTo>
                <a:lnTo>
                  <a:pt x="434674" y="378459"/>
                </a:lnTo>
                <a:lnTo>
                  <a:pt x="424465" y="383539"/>
                </a:lnTo>
                <a:lnTo>
                  <a:pt x="424242" y="386079"/>
                </a:lnTo>
                <a:lnTo>
                  <a:pt x="399509" y="408939"/>
                </a:lnTo>
                <a:lnTo>
                  <a:pt x="399547" y="411479"/>
                </a:lnTo>
                <a:lnTo>
                  <a:pt x="389335" y="411479"/>
                </a:lnTo>
                <a:lnTo>
                  <a:pt x="386862" y="412749"/>
                </a:lnTo>
                <a:lnTo>
                  <a:pt x="385547" y="412749"/>
                </a:lnTo>
                <a:lnTo>
                  <a:pt x="326616" y="419099"/>
                </a:lnTo>
                <a:close/>
              </a:path>
              <a:path w="596900" h="471170">
                <a:moveTo>
                  <a:pt x="268308" y="309879"/>
                </a:moveTo>
                <a:lnTo>
                  <a:pt x="249395" y="309879"/>
                </a:lnTo>
                <a:lnTo>
                  <a:pt x="254740" y="307339"/>
                </a:lnTo>
                <a:lnTo>
                  <a:pt x="259640" y="304799"/>
                </a:lnTo>
                <a:lnTo>
                  <a:pt x="237695" y="303529"/>
                </a:lnTo>
                <a:lnTo>
                  <a:pt x="207398" y="303529"/>
                </a:lnTo>
                <a:lnTo>
                  <a:pt x="202744" y="302259"/>
                </a:lnTo>
                <a:lnTo>
                  <a:pt x="285884" y="302259"/>
                </a:lnTo>
                <a:lnTo>
                  <a:pt x="268308" y="309879"/>
                </a:lnTo>
                <a:close/>
              </a:path>
              <a:path w="596900" h="471170">
                <a:moveTo>
                  <a:pt x="414740" y="313689"/>
                </a:moveTo>
                <a:lnTo>
                  <a:pt x="392126" y="313689"/>
                </a:lnTo>
                <a:lnTo>
                  <a:pt x="380924" y="312419"/>
                </a:lnTo>
                <a:lnTo>
                  <a:pt x="369839" y="309879"/>
                </a:lnTo>
                <a:lnTo>
                  <a:pt x="458396" y="309879"/>
                </a:lnTo>
                <a:lnTo>
                  <a:pt x="441132" y="312419"/>
                </a:lnTo>
                <a:lnTo>
                  <a:pt x="414740" y="313689"/>
                </a:lnTo>
                <a:close/>
              </a:path>
              <a:path w="596900" h="471170">
                <a:moveTo>
                  <a:pt x="255416" y="427989"/>
                </a:moveTo>
                <a:lnTo>
                  <a:pt x="245957" y="427989"/>
                </a:lnTo>
                <a:lnTo>
                  <a:pt x="245957" y="320039"/>
                </a:lnTo>
                <a:lnTo>
                  <a:pt x="87551" y="320039"/>
                </a:lnTo>
                <a:lnTo>
                  <a:pt x="77930" y="318769"/>
                </a:lnTo>
                <a:lnTo>
                  <a:pt x="70443" y="314959"/>
                </a:lnTo>
                <a:lnTo>
                  <a:pt x="259714" y="314959"/>
                </a:lnTo>
                <a:lnTo>
                  <a:pt x="255416" y="317499"/>
                </a:lnTo>
                <a:lnTo>
                  <a:pt x="255416" y="427989"/>
                </a:lnTo>
                <a:close/>
              </a:path>
              <a:path w="596900" h="471170">
                <a:moveTo>
                  <a:pt x="430050" y="323849"/>
                </a:moveTo>
                <a:lnTo>
                  <a:pt x="329672" y="323849"/>
                </a:lnTo>
                <a:lnTo>
                  <a:pt x="419025" y="320039"/>
                </a:lnTo>
                <a:lnTo>
                  <a:pt x="426085" y="321309"/>
                </a:lnTo>
                <a:lnTo>
                  <a:pt x="430050" y="323849"/>
                </a:lnTo>
                <a:close/>
              </a:path>
              <a:path w="596900" h="471170">
                <a:moveTo>
                  <a:pt x="322795" y="365759"/>
                </a:moveTo>
                <a:lnTo>
                  <a:pt x="320165" y="365759"/>
                </a:lnTo>
                <a:lnTo>
                  <a:pt x="318050" y="363219"/>
                </a:lnTo>
                <a:lnTo>
                  <a:pt x="318013" y="358139"/>
                </a:lnTo>
                <a:lnTo>
                  <a:pt x="320113" y="355599"/>
                </a:lnTo>
                <a:lnTo>
                  <a:pt x="347799" y="355599"/>
                </a:lnTo>
                <a:lnTo>
                  <a:pt x="402200" y="350519"/>
                </a:lnTo>
                <a:lnTo>
                  <a:pt x="421173" y="347979"/>
                </a:lnTo>
                <a:lnTo>
                  <a:pt x="425661" y="346709"/>
                </a:lnTo>
                <a:lnTo>
                  <a:pt x="428859" y="342899"/>
                </a:lnTo>
                <a:lnTo>
                  <a:pt x="428348" y="334009"/>
                </a:lnTo>
                <a:lnTo>
                  <a:pt x="424190" y="330199"/>
                </a:lnTo>
                <a:lnTo>
                  <a:pt x="436233" y="330199"/>
                </a:lnTo>
                <a:lnTo>
                  <a:pt x="438049" y="337819"/>
                </a:lnTo>
                <a:lnTo>
                  <a:pt x="438238" y="341629"/>
                </a:lnTo>
                <a:lnTo>
                  <a:pt x="437444" y="344169"/>
                </a:lnTo>
                <a:lnTo>
                  <a:pt x="435916" y="347979"/>
                </a:lnTo>
                <a:lnTo>
                  <a:pt x="438252" y="349249"/>
                </a:lnTo>
                <a:lnTo>
                  <a:pt x="440300" y="351789"/>
                </a:lnTo>
                <a:lnTo>
                  <a:pt x="441824" y="354329"/>
                </a:lnTo>
                <a:lnTo>
                  <a:pt x="429327" y="354329"/>
                </a:lnTo>
                <a:lnTo>
                  <a:pt x="427326" y="355599"/>
                </a:lnTo>
                <a:lnTo>
                  <a:pt x="425075" y="356869"/>
                </a:lnTo>
                <a:lnTo>
                  <a:pt x="422620" y="356869"/>
                </a:lnTo>
                <a:lnTo>
                  <a:pt x="403397" y="359409"/>
                </a:lnTo>
                <a:lnTo>
                  <a:pt x="348238" y="364489"/>
                </a:lnTo>
                <a:lnTo>
                  <a:pt x="322795" y="365759"/>
                </a:lnTo>
                <a:close/>
              </a:path>
              <a:path w="596900" h="471170">
                <a:moveTo>
                  <a:pt x="326304" y="394969"/>
                </a:moveTo>
                <a:lnTo>
                  <a:pt x="323674" y="394969"/>
                </a:lnTo>
                <a:lnTo>
                  <a:pt x="321560" y="392429"/>
                </a:lnTo>
                <a:lnTo>
                  <a:pt x="321532" y="387349"/>
                </a:lnTo>
                <a:lnTo>
                  <a:pt x="323632" y="386079"/>
                </a:lnTo>
                <a:lnTo>
                  <a:pt x="414399" y="386079"/>
                </a:lnTo>
                <a:lnTo>
                  <a:pt x="401347" y="388619"/>
                </a:lnTo>
                <a:lnTo>
                  <a:pt x="380920" y="391159"/>
                </a:lnTo>
                <a:lnTo>
                  <a:pt x="355208" y="393699"/>
                </a:lnTo>
                <a:lnTo>
                  <a:pt x="326304" y="394969"/>
                </a:lnTo>
                <a:close/>
              </a:path>
              <a:path w="596900" h="471170">
                <a:moveTo>
                  <a:pt x="375512" y="429259"/>
                </a:moveTo>
                <a:lnTo>
                  <a:pt x="294536" y="429259"/>
                </a:lnTo>
                <a:lnTo>
                  <a:pt x="335432" y="426719"/>
                </a:lnTo>
                <a:lnTo>
                  <a:pt x="369687" y="421639"/>
                </a:lnTo>
                <a:lnTo>
                  <a:pt x="388881" y="412749"/>
                </a:lnTo>
                <a:lnTo>
                  <a:pt x="389070" y="412749"/>
                </a:lnTo>
                <a:lnTo>
                  <a:pt x="389335" y="411479"/>
                </a:lnTo>
                <a:lnTo>
                  <a:pt x="399547" y="411479"/>
                </a:lnTo>
                <a:lnTo>
                  <a:pt x="399566" y="412749"/>
                </a:lnTo>
                <a:lnTo>
                  <a:pt x="398568" y="415289"/>
                </a:lnTo>
                <a:lnTo>
                  <a:pt x="396378" y="417829"/>
                </a:lnTo>
                <a:lnTo>
                  <a:pt x="384750" y="426719"/>
                </a:lnTo>
                <a:lnTo>
                  <a:pt x="375512" y="429259"/>
                </a:lnTo>
                <a:close/>
              </a:path>
              <a:path w="596900" h="471170">
                <a:moveTo>
                  <a:pt x="290092" y="471169"/>
                </a:moveTo>
                <a:lnTo>
                  <a:pt x="286960" y="471169"/>
                </a:lnTo>
                <a:lnTo>
                  <a:pt x="285499" y="469899"/>
                </a:lnTo>
                <a:lnTo>
                  <a:pt x="279533" y="461009"/>
                </a:lnTo>
                <a:lnTo>
                  <a:pt x="273458" y="453389"/>
                </a:lnTo>
                <a:lnTo>
                  <a:pt x="266522" y="445769"/>
                </a:lnTo>
                <a:lnTo>
                  <a:pt x="258860" y="438149"/>
                </a:lnTo>
                <a:lnTo>
                  <a:pt x="273144" y="438149"/>
                </a:lnTo>
                <a:lnTo>
                  <a:pt x="279104" y="444499"/>
                </a:lnTo>
                <a:lnTo>
                  <a:pt x="284297" y="452119"/>
                </a:lnTo>
                <a:lnTo>
                  <a:pt x="288535" y="457199"/>
                </a:lnTo>
                <a:lnTo>
                  <a:pt x="300899" y="457199"/>
                </a:lnTo>
                <a:lnTo>
                  <a:pt x="298207" y="461009"/>
                </a:lnTo>
                <a:lnTo>
                  <a:pt x="292438" y="468629"/>
                </a:lnTo>
                <a:lnTo>
                  <a:pt x="291558" y="469899"/>
                </a:lnTo>
                <a:lnTo>
                  <a:pt x="290092" y="471169"/>
                </a:lnTo>
                <a:close/>
              </a:path>
            </a:pathLst>
          </a:custGeom>
          <a:solidFill>
            <a:srgbClr val="FF8F45"/>
          </a:solidFill>
        </p:spPr>
        <p:txBody>
          <a:bodyPr wrap="square" lIns="0" tIns="0" rIns="0" bIns="0" rtlCol="0"/>
          <a:lstStyle/>
          <a:p>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0650976" y="301178"/>
            <a:ext cx="117673" cy="117673"/>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10835077" y="301178"/>
            <a:ext cx="117673" cy="117673"/>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11019180" y="301178"/>
            <a:ext cx="117673" cy="117673"/>
          </a:xfrm>
          <a:prstGeom prst="rect">
            <a:avLst/>
          </a:prstGeom>
        </p:spPr>
      </p:pic>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11203282" y="301178"/>
            <a:ext cx="117673" cy="117673"/>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11387384" y="301178"/>
            <a:ext cx="117673" cy="117673"/>
          </a:xfrm>
          <a:prstGeom prst="rect">
            <a:avLst/>
          </a:prstGeom>
        </p:spPr>
      </p:pic>
      <p:sp>
        <p:nvSpPr>
          <p:cNvPr id="14" name="object 14"/>
          <p:cNvSpPr txBox="1"/>
          <p:nvPr/>
        </p:nvSpPr>
        <p:spPr>
          <a:xfrm>
            <a:off x="1160028" y="236267"/>
            <a:ext cx="1232323" cy="220133"/>
          </a:xfrm>
          <a:prstGeom prst="rect">
            <a:avLst/>
          </a:prstGeom>
        </p:spPr>
        <p:txBody>
          <a:bodyPr vert="horz" wrap="square" lIns="0" tIns="8467" rIns="0" bIns="0" rtlCol="0">
            <a:spAutoFit/>
          </a:bodyPr>
          <a:lstStyle/>
          <a:p>
            <a:pPr marL="8467">
              <a:lnSpc>
                <a:spcPct val="100000"/>
              </a:lnSpc>
              <a:spcBef>
                <a:spcPts val="67"/>
              </a:spcBef>
            </a:pPr>
            <a:r>
              <a:rPr sz="1333" b="1" spc="-73" dirty="0">
                <a:solidFill>
                  <a:srgbClr val="FF8F45"/>
                </a:solidFill>
                <a:latin typeface="Trebuchet MS"/>
                <a:cs typeface="Trebuchet MS"/>
              </a:rPr>
              <a:t>THE</a:t>
            </a:r>
            <a:r>
              <a:rPr sz="1333" b="1" spc="-63" dirty="0">
                <a:solidFill>
                  <a:srgbClr val="FF8F45"/>
                </a:solidFill>
                <a:latin typeface="Trebuchet MS"/>
                <a:cs typeface="Trebuchet MS"/>
              </a:rPr>
              <a:t> </a:t>
            </a:r>
            <a:r>
              <a:rPr sz="1333" b="1" dirty="0">
                <a:solidFill>
                  <a:srgbClr val="FF8F45"/>
                </a:solidFill>
                <a:latin typeface="Trebuchet MS"/>
                <a:cs typeface="Trebuchet MS"/>
              </a:rPr>
              <a:t>DOULA</a:t>
            </a:r>
            <a:r>
              <a:rPr sz="1333" b="1" spc="-60" dirty="0">
                <a:solidFill>
                  <a:srgbClr val="FF8F45"/>
                </a:solidFill>
                <a:latin typeface="Trebuchet MS"/>
                <a:cs typeface="Trebuchet MS"/>
              </a:rPr>
              <a:t> </a:t>
            </a:r>
            <a:r>
              <a:rPr sz="1333" b="1" spc="-17" dirty="0">
                <a:solidFill>
                  <a:srgbClr val="FF8F45"/>
                </a:solidFill>
                <a:latin typeface="Trebuchet MS"/>
                <a:cs typeface="Trebuchet MS"/>
              </a:rPr>
              <a:t>LAB</a:t>
            </a:r>
            <a:endParaRPr sz="1333">
              <a:latin typeface="Trebuchet MS"/>
              <a:cs typeface="Trebuchet MS"/>
            </a:endParaRPr>
          </a:p>
        </p:txBody>
      </p:sp>
      <p:sp>
        <p:nvSpPr>
          <p:cNvPr id="15" name="object 15"/>
          <p:cNvSpPr txBox="1">
            <a:spLocks noGrp="1"/>
          </p:cNvSpPr>
          <p:nvPr>
            <p:ph type="title"/>
          </p:nvPr>
        </p:nvSpPr>
        <p:spPr>
          <a:xfrm>
            <a:off x="5181032" y="370260"/>
            <a:ext cx="5698067" cy="728133"/>
          </a:xfrm>
          <a:prstGeom prst="rect">
            <a:avLst/>
          </a:prstGeom>
        </p:spPr>
        <p:txBody>
          <a:bodyPr vert="horz" wrap="square" lIns="0" tIns="8467" rIns="0" bIns="0" rtlCol="0">
            <a:spAutoFit/>
          </a:bodyPr>
          <a:lstStyle/>
          <a:p>
            <a:pPr marL="8467">
              <a:lnSpc>
                <a:spcPct val="100000"/>
              </a:lnSpc>
              <a:spcBef>
                <a:spcPts val="67"/>
              </a:spcBef>
            </a:pPr>
            <a:r>
              <a:rPr dirty="0"/>
              <a:t>About</a:t>
            </a:r>
            <a:r>
              <a:rPr spc="-227" dirty="0"/>
              <a:t> </a:t>
            </a:r>
            <a:r>
              <a:rPr spc="-183" dirty="0"/>
              <a:t>The</a:t>
            </a:r>
            <a:r>
              <a:rPr spc="-223" dirty="0"/>
              <a:t> </a:t>
            </a:r>
            <a:r>
              <a:rPr dirty="0"/>
              <a:t>Doula</a:t>
            </a:r>
            <a:r>
              <a:rPr spc="-227" dirty="0"/>
              <a:t> </a:t>
            </a:r>
            <a:r>
              <a:rPr spc="47" dirty="0"/>
              <a:t>Lab</a:t>
            </a:r>
          </a:p>
        </p:txBody>
      </p:sp>
      <p:sp>
        <p:nvSpPr>
          <p:cNvPr id="16" name="object 16"/>
          <p:cNvSpPr txBox="1"/>
          <p:nvPr/>
        </p:nvSpPr>
        <p:spPr>
          <a:xfrm>
            <a:off x="5373121" y="1102605"/>
            <a:ext cx="6477000" cy="2594186"/>
          </a:xfrm>
          <a:prstGeom prst="rect">
            <a:avLst/>
          </a:prstGeom>
        </p:spPr>
        <p:txBody>
          <a:bodyPr vert="horz" wrap="square" lIns="0" tIns="8467" rIns="0" bIns="0" rtlCol="0">
            <a:spAutoFit/>
          </a:bodyPr>
          <a:lstStyle/>
          <a:p>
            <a:pPr marL="8467">
              <a:lnSpc>
                <a:spcPct val="100000"/>
              </a:lnSpc>
              <a:spcBef>
                <a:spcPts val="67"/>
              </a:spcBef>
            </a:pPr>
            <a:r>
              <a:rPr sz="2000" b="1" spc="-7" dirty="0">
                <a:solidFill>
                  <a:srgbClr val="2ABEC1"/>
                </a:solidFill>
                <a:latin typeface="Trebuchet MS"/>
                <a:cs typeface="Trebuchet MS"/>
              </a:rPr>
              <a:t>OVERVIEW</a:t>
            </a:r>
            <a:endParaRPr sz="2000">
              <a:latin typeface="Trebuchet MS"/>
              <a:cs typeface="Trebuchet MS"/>
            </a:endParaRPr>
          </a:p>
          <a:p>
            <a:pPr marL="296348" marR="3387" algn="just">
              <a:lnSpc>
                <a:spcPct val="115999"/>
              </a:lnSpc>
              <a:spcBef>
                <a:spcPts val="1607"/>
              </a:spcBef>
            </a:pPr>
            <a:r>
              <a:rPr sz="1300" dirty="0">
                <a:latin typeface="Arial Black"/>
                <a:cs typeface="Arial Black"/>
              </a:rPr>
              <a:t>The</a:t>
            </a:r>
            <a:r>
              <a:rPr sz="1300" spc="133" dirty="0">
                <a:latin typeface="Arial Black"/>
                <a:cs typeface="Arial Black"/>
              </a:rPr>
              <a:t> </a:t>
            </a:r>
            <a:r>
              <a:rPr sz="1300" dirty="0">
                <a:latin typeface="Arial Black"/>
                <a:cs typeface="Arial Black"/>
              </a:rPr>
              <a:t>Doula</a:t>
            </a:r>
            <a:r>
              <a:rPr sz="1300" spc="133" dirty="0">
                <a:latin typeface="Arial Black"/>
                <a:cs typeface="Arial Black"/>
              </a:rPr>
              <a:t> </a:t>
            </a:r>
            <a:r>
              <a:rPr sz="1300" dirty="0">
                <a:latin typeface="Arial Black"/>
                <a:cs typeface="Arial Black"/>
              </a:rPr>
              <a:t>Lab</a:t>
            </a:r>
            <a:r>
              <a:rPr sz="1300" spc="133" dirty="0">
                <a:latin typeface="Arial Black"/>
                <a:cs typeface="Arial Black"/>
              </a:rPr>
              <a:t> </a:t>
            </a:r>
            <a:r>
              <a:rPr sz="1300" dirty="0">
                <a:latin typeface="Arial Black"/>
                <a:cs typeface="Arial Black"/>
              </a:rPr>
              <a:t>is</a:t>
            </a:r>
            <a:r>
              <a:rPr sz="1300" spc="133" dirty="0">
                <a:latin typeface="Arial Black"/>
                <a:cs typeface="Arial Black"/>
              </a:rPr>
              <a:t> </a:t>
            </a:r>
            <a:r>
              <a:rPr sz="1300" dirty="0">
                <a:latin typeface="Arial Black"/>
                <a:cs typeface="Arial Black"/>
              </a:rPr>
              <a:t>a</a:t>
            </a:r>
            <a:r>
              <a:rPr sz="1300" spc="136" dirty="0">
                <a:latin typeface="Arial Black"/>
                <a:cs typeface="Arial Black"/>
              </a:rPr>
              <a:t> </a:t>
            </a:r>
            <a:r>
              <a:rPr sz="1300" spc="-37" dirty="0">
                <a:latin typeface="Arial Black"/>
                <a:cs typeface="Arial Black"/>
              </a:rPr>
              <a:t>non-</a:t>
            </a:r>
            <a:r>
              <a:rPr sz="1300" dirty="0">
                <a:latin typeface="Arial Black"/>
                <a:cs typeface="Arial Black"/>
              </a:rPr>
              <a:t>profit</a:t>
            </a:r>
            <a:r>
              <a:rPr sz="1300" spc="133" dirty="0">
                <a:latin typeface="Arial Black"/>
                <a:cs typeface="Arial Black"/>
              </a:rPr>
              <a:t> </a:t>
            </a:r>
            <a:r>
              <a:rPr sz="1300" spc="-17" dirty="0">
                <a:latin typeface="Arial Black"/>
                <a:cs typeface="Arial Black"/>
              </a:rPr>
              <a:t>organization</a:t>
            </a:r>
            <a:r>
              <a:rPr sz="1300" spc="133" dirty="0">
                <a:latin typeface="Arial Black"/>
                <a:cs typeface="Arial Black"/>
              </a:rPr>
              <a:t> </a:t>
            </a:r>
            <a:r>
              <a:rPr sz="1300" dirty="0">
                <a:latin typeface="Arial Black"/>
                <a:cs typeface="Arial Black"/>
              </a:rPr>
              <a:t>that</a:t>
            </a:r>
            <a:r>
              <a:rPr sz="1300" spc="133" dirty="0">
                <a:latin typeface="Arial Black"/>
                <a:cs typeface="Arial Black"/>
              </a:rPr>
              <a:t> </a:t>
            </a:r>
            <a:r>
              <a:rPr sz="1300" dirty="0">
                <a:latin typeface="Arial Black"/>
                <a:cs typeface="Arial Black"/>
              </a:rPr>
              <a:t>was</a:t>
            </a:r>
            <a:r>
              <a:rPr sz="1300" spc="136" dirty="0">
                <a:latin typeface="Arial Black"/>
                <a:cs typeface="Arial Black"/>
              </a:rPr>
              <a:t> </a:t>
            </a:r>
            <a:r>
              <a:rPr sz="1300" spc="-13" dirty="0">
                <a:latin typeface="Arial Black"/>
                <a:cs typeface="Arial Black"/>
              </a:rPr>
              <a:t>created</a:t>
            </a:r>
            <a:r>
              <a:rPr sz="1300" spc="133" dirty="0">
                <a:latin typeface="Arial Black"/>
                <a:cs typeface="Arial Black"/>
              </a:rPr>
              <a:t> </a:t>
            </a:r>
            <a:r>
              <a:rPr sz="1300" dirty="0">
                <a:latin typeface="Arial Black"/>
                <a:cs typeface="Arial Black"/>
              </a:rPr>
              <a:t>to</a:t>
            </a:r>
            <a:r>
              <a:rPr sz="1300" spc="133" dirty="0">
                <a:latin typeface="Arial Black"/>
                <a:cs typeface="Arial Black"/>
              </a:rPr>
              <a:t> </a:t>
            </a:r>
            <a:r>
              <a:rPr sz="1300" spc="-13" dirty="0">
                <a:latin typeface="Arial Black"/>
                <a:cs typeface="Arial Black"/>
              </a:rPr>
              <a:t>help </a:t>
            </a:r>
            <a:r>
              <a:rPr sz="1300" spc="-60" dirty="0">
                <a:latin typeface="Arial Black"/>
                <a:cs typeface="Arial Black"/>
              </a:rPr>
              <a:t>educate,</a:t>
            </a:r>
            <a:r>
              <a:rPr sz="1300" spc="-27" dirty="0">
                <a:latin typeface="Arial Black"/>
                <a:cs typeface="Arial Black"/>
              </a:rPr>
              <a:t> </a:t>
            </a:r>
            <a:r>
              <a:rPr sz="1300" spc="-63" dirty="0">
                <a:latin typeface="Arial Black"/>
                <a:cs typeface="Arial Black"/>
              </a:rPr>
              <a:t>advocate,</a:t>
            </a:r>
            <a:r>
              <a:rPr sz="1300" spc="-27" dirty="0">
                <a:latin typeface="Arial Black"/>
                <a:cs typeface="Arial Black"/>
              </a:rPr>
              <a:t> </a:t>
            </a:r>
            <a:r>
              <a:rPr sz="1300" dirty="0">
                <a:latin typeface="Arial Black"/>
                <a:cs typeface="Arial Black"/>
              </a:rPr>
              <a:t>and</a:t>
            </a:r>
            <a:r>
              <a:rPr sz="1300" spc="-27" dirty="0">
                <a:latin typeface="Arial Black"/>
                <a:cs typeface="Arial Black"/>
              </a:rPr>
              <a:t> </a:t>
            </a:r>
            <a:r>
              <a:rPr sz="1300" spc="-43" dirty="0">
                <a:latin typeface="Arial Black"/>
                <a:cs typeface="Arial Black"/>
              </a:rPr>
              <a:t>empower</a:t>
            </a:r>
            <a:r>
              <a:rPr sz="1300" spc="-27" dirty="0">
                <a:latin typeface="Arial Black"/>
                <a:cs typeface="Arial Black"/>
              </a:rPr>
              <a:t> every </a:t>
            </a:r>
            <a:r>
              <a:rPr sz="1300" dirty="0">
                <a:latin typeface="Arial Black"/>
                <a:cs typeface="Arial Black"/>
              </a:rPr>
              <a:t>birth</a:t>
            </a:r>
            <a:r>
              <a:rPr sz="1300" spc="-27" dirty="0">
                <a:latin typeface="Arial Black"/>
                <a:cs typeface="Arial Black"/>
              </a:rPr>
              <a:t> </a:t>
            </a:r>
            <a:r>
              <a:rPr sz="1300" dirty="0">
                <a:latin typeface="Arial Black"/>
                <a:cs typeface="Arial Black"/>
              </a:rPr>
              <a:t>no</a:t>
            </a:r>
            <a:r>
              <a:rPr sz="1300" spc="-27" dirty="0">
                <a:latin typeface="Arial Black"/>
                <a:cs typeface="Arial Black"/>
              </a:rPr>
              <a:t> </a:t>
            </a:r>
            <a:r>
              <a:rPr sz="1300" spc="-7" dirty="0">
                <a:latin typeface="Arial Black"/>
                <a:cs typeface="Arial Black"/>
              </a:rPr>
              <a:t>matter</a:t>
            </a:r>
            <a:r>
              <a:rPr sz="1300" spc="-27" dirty="0">
                <a:latin typeface="Arial Black"/>
                <a:cs typeface="Arial Black"/>
              </a:rPr>
              <a:t> </a:t>
            </a:r>
            <a:r>
              <a:rPr sz="1300" spc="-53" dirty="0">
                <a:latin typeface="Arial Black"/>
                <a:cs typeface="Arial Black"/>
              </a:rPr>
              <a:t>race,</a:t>
            </a:r>
            <a:r>
              <a:rPr sz="1300" spc="-27" dirty="0">
                <a:latin typeface="Arial Black"/>
                <a:cs typeface="Arial Black"/>
              </a:rPr>
              <a:t> </a:t>
            </a:r>
            <a:r>
              <a:rPr sz="1300" spc="-47" dirty="0">
                <a:latin typeface="Arial Black"/>
                <a:cs typeface="Arial Black"/>
              </a:rPr>
              <a:t>gender,</a:t>
            </a:r>
            <a:r>
              <a:rPr sz="1300" spc="-27" dirty="0">
                <a:latin typeface="Arial Black"/>
                <a:cs typeface="Arial Black"/>
              </a:rPr>
              <a:t> </a:t>
            </a:r>
            <a:r>
              <a:rPr sz="1300" spc="-17" dirty="0">
                <a:latin typeface="Arial Black"/>
                <a:cs typeface="Arial Black"/>
              </a:rPr>
              <a:t>or </a:t>
            </a:r>
            <a:r>
              <a:rPr sz="1300" spc="-67" dirty="0">
                <a:latin typeface="Arial Black"/>
                <a:cs typeface="Arial Black"/>
              </a:rPr>
              <a:t>financial</a:t>
            </a:r>
            <a:r>
              <a:rPr sz="1300" spc="-50" dirty="0">
                <a:latin typeface="Arial Black"/>
                <a:cs typeface="Arial Black"/>
              </a:rPr>
              <a:t> </a:t>
            </a:r>
            <a:r>
              <a:rPr sz="1300" spc="-20" dirty="0">
                <a:latin typeface="Arial Black"/>
                <a:cs typeface="Arial Black"/>
              </a:rPr>
              <a:t>class</a:t>
            </a:r>
            <a:r>
              <a:rPr sz="1300" spc="-20" dirty="0">
                <a:latin typeface="Verdana"/>
                <a:cs typeface="Verdana"/>
              </a:rPr>
              <a:t>.</a:t>
            </a:r>
            <a:endParaRPr sz="1300">
              <a:latin typeface="Verdana"/>
              <a:cs typeface="Verdana"/>
            </a:endParaRPr>
          </a:p>
          <a:p>
            <a:pPr marL="296348" marR="3387" algn="just">
              <a:lnSpc>
                <a:spcPct val="115999"/>
              </a:lnSpc>
            </a:pPr>
            <a:r>
              <a:rPr sz="1300" dirty="0">
                <a:latin typeface="Arial Black"/>
                <a:cs typeface="Arial Black"/>
              </a:rPr>
              <a:t>By</a:t>
            </a:r>
            <a:r>
              <a:rPr sz="1300" spc="-53" dirty="0">
                <a:latin typeface="Arial Black"/>
                <a:cs typeface="Arial Black"/>
              </a:rPr>
              <a:t> </a:t>
            </a:r>
            <a:r>
              <a:rPr sz="1300" spc="-23" dirty="0">
                <a:latin typeface="Arial Black"/>
                <a:cs typeface="Arial Black"/>
              </a:rPr>
              <a:t>providing</a:t>
            </a:r>
            <a:r>
              <a:rPr sz="1300" spc="-50" dirty="0">
                <a:latin typeface="Arial Black"/>
                <a:cs typeface="Arial Black"/>
              </a:rPr>
              <a:t> </a:t>
            </a:r>
            <a:r>
              <a:rPr sz="1300" spc="-23" dirty="0">
                <a:latin typeface="Arial Black"/>
                <a:cs typeface="Arial Black"/>
              </a:rPr>
              <a:t>detailed</a:t>
            </a:r>
            <a:r>
              <a:rPr sz="1300" spc="-53" dirty="0">
                <a:latin typeface="Arial Black"/>
                <a:cs typeface="Arial Black"/>
              </a:rPr>
              <a:t> </a:t>
            </a:r>
            <a:r>
              <a:rPr sz="1300" spc="-47" dirty="0">
                <a:latin typeface="Arial Black"/>
                <a:cs typeface="Arial Black"/>
              </a:rPr>
              <a:t>pregnancy,</a:t>
            </a:r>
            <a:r>
              <a:rPr sz="1300" spc="-50" dirty="0">
                <a:latin typeface="Arial Black"/>
                <a:cs typeface="Arial Black"/>
              </a:rPr>
              <a:t> </a:t>
            </a:r>
            <a:r>
              <a:rPr sz="1300" dirty="0">
                <a:latin typeface="Arial Black"/>
                <a:cs typeface="Arial Black"/>
              </a:rPr>
              <a:t>labor,</a:t>
            </a:r>
            <a:r>
              <a:rPr sz="1300" spc="-53" dirty="0">
                <a:latin typeface="Arial Black"/>
                <a:cs typeface="Arial Black"/>
              </a:rPr>
              <a:t> </a:t>
            </a:r>
            <a:r>
              <a:rPr sz="1300" spc="-23" dirty="0">
                <a:latin typeface="Arial Black"/>
                <a:cs typeface="Arial Black"/>
              </a:rPr>
              <a:t>postpartum,</a:t>
            </a:r>
            <a:r>
              <a:rPr sz="1300" spc="-50" dirty="0">
                <a:latin typeface="Arial Black"/>
                <a:cs typeface="Arial Black"/>
              </a:rPr>
              <a:t> </a:t>
            </a:r>
            <a:r>
              <a:rPr sz="1300" spc="-37" dirty="0">
                <a:latin typeface="Arial Black"/>
                <a:cs typeface="Arial Black"/>
              </a:rPr>
              <a:t>lactation,</a:t>
            </a:r>
            <a:r>
              <a:rPr sz="1300" spc="-53" dirty="0">
                <a:latin typeface="Arial Black"/>
                <a:cs typeface="Arial Black"/>
              </a:rPr>
              <a:t> </a:t>
            </a:r>
            <a:r>
              <a:rPr sz="1300" spc="-27" dirty="0">
                <a:latin typeface="Arial Black"/>
                <a:cs typeface="Arial Black"/>
              </a:rPr>
              <a:t>newborn </a:t>
            </a:r>
            <a:r>
              <a:rPr sz="1300" spc="-17" dirty="0">
                <a:latin typeface="Arial Black"/>
                <a:cs typeface="Arial Black"/>
              </a:rPr>
              <a:t>care,</a:t>
            </a:r>
            <a:r>
              <a:rPr sz="1300" spc="30" dirty="0">
                <a:latin typeface="Arial Black"/>
                <a:cs typeface="Arial Black"/>
              </a:rPr>
              <a:t> </a:t>
            </a:r>
            <a:r>
              <a:rPr sz="1300" dirty="0">
                <a:latin typeface="Arial Black"/>
                <a:cs typeface="Arial Black"/>
              </a:rPr>
              <a:t>nutrition,</a:t>
            </a:r>
            <a:r>
              <a:rPr sz="1300" spc="30" dirty="0">
                <a:latin typeface="Arial Black"/>
                <a:cs typeface="Arial Black"/>
              </a:rPr>
              <a:t> </a:t>
            </a:r>
            <a:r>
              <a:rPr sz="1300" spc="-57" dirty="0">
                <a:latin typeface="Arial Black"/>
                <a:cs typeface="Arial Black"/>
              </a:rPr>
              <a:t>CPR,</a:t>
            </a:r>
            <a:r>
              <a:rPr sz="1300" spc="30" dirty="0">
                <a:latin typeface="Arial Black"/>
                <a:cs typeface="Arial Black"/>
              </a:rPr>
              <a:t> </a:t>
            </a:r>
            <a:r>
              <a:rPr sz="1300" dirty="0">
                <a:latin typeface="Arial Black"/>
                <a:cs typeface="Arial Black"/>
              </a:rPr>
              <a:t>and</a:t>
            </a:r>
            <a:r>
              <a:rPr sz="1300" spc="33" dirty="0">
                <a:latin typeface="Arial Black"/>
                <a:cs typeface="Arial Black"/>
              </a:rPr>
              <a:t> </a:t>
            </a:r>
            <a:r>
              <a:rPr sz="1300" dirty="0">
                <a:latin typeface="Arial Black"/>
                <a:cs typeface="Arial Black"/>
              </a:rPr>
              <a:t>more</a:t>
            </a:r>
            <a:r>
              <a:rPr sz="1300" spc="30" dirty="0">
                <a:latin typeface="Arial Black"/>
                <a:cs typeface="Arial Black"/>
              </a:rPr>
              <a:t> </a:t>
            </a:r>
            <a:r>
              <a:rPr sz="1300" spc="-83" dirty="0">
                <a:latin typeface="Arial Black"/>
                <a:cs typeface="Arial Black"/>
              </a:rPr>
              <a:t>classes</a:t>
            </a:r>
            <a:r>
              <a:rPr sz="1300" spc="30" dirty="0">
                <a:latin typeface="Arial Black"/>
                <a:cs typeface="Arial Black"/>
              </a:rPr>
              <a:t> </a:t>
            </a:r>
            <a:r>
              <a:rPr sz="1300" dirty="0">
                <a:latin typeface="Arial Black"/>
                <a:cs typeface="Arial Black"/>
              </a:rPr>
              <a:t>that</a:t>
            </a:r>
            <a:r>
              <a:rPr sz="1300" spc="30" dirty="0">
                <a:latin typeface="Arial Black"/>
                <a:cs typeface="Arial Black"/>
              </a:rPr>
              <a:t> </a:t>
            </a:r>
            <a:r>
              <a:rPr sz="1300" spc="-17" dirty="0">
                <a:latin typeface="Arial Black"/>
                <a:cs typeface="Arial Black"/>
              </a:rPr>
              <a:t>include</a:t>
            </a:r>
            <a:r>
              <a:rPr sz="1300" spc="33" dirty="0">
                <a:latin typeface="Arial Black"/>
                <a:cs typeface="Arial Black"/>
              </a:rPr>
              <a:t> </a:t>
            </a:r>
            <a:r>
              <a:rPr sz="1300" dirty="0">
                <a:latin typeface="Arial Black"/>
                <a:cs typeface="Arial Black"/>
              </a:rPr>
              <a:t>the</a:t>
            </a:r>
            <a:r>
              <a:rPr sz="1300" spc="30" dirty="0">
                <a:latin typeface="Arial Black"/>
                <a:cs typeface="Arial Black"/>
              </a:rPr>
              <a:t> </a:t>
            </a:r>
            <a:r>
              <a:rPr sz="1300" dirty="0">
                <a:latin typeface="Arial Black"/>
                <a:cs typeface="Arial Black"/>
              </a:rPr>
              <a:t>entire</a:t>
            </a:r>
            <a:r>
              <a:rPr sz="1300" spc="30" dirty="0">
                <a:latin typeface="Arial Black"/>
                <a:cs typeface="Arial Black"/>
              </a:rPr>
              <a:t> </a:t>
            </a:r>
            <a:r>
              <a:rPr sz="1300" spc="-27" dirty="0">
                <a:latin typeface="Arial Black"/>
                <a:cs typeface="Arial Black"/>
              </a:rPr>
              <a:t>support </a:t>
            </a:r>
            <a:r>
              <a:rPr sz="1300" spc="-60" dirty="0">
                <a:latin typeface="Arial Black"/>
                <a:cs typeface="Arial Black"/>
              </a:rPr>
              <a:t>system.</a:t>
            </a:r>
            <a:r>
              <a:rPr sz="1300" spc="-50" dirty="0">
                <a:latin typeface="Arial Black"/>
                <a:cs typeface="Arial Black"/>
              </a:rPr>
              <a:t> </a:t>
            </a:r>
            <a:r>
              <a:rPr sz="1300" dirty="0">
                <a:latin typeface="Arial Black"/>
                <a:cs typeface="Arial Black"/>
              </a:rPr>
              <a:t>We</a:t>
            </a:r>
            <a:r>
              <a:rPr sz="1300" spc="-63" dirty="0">
                <a:latin typeface="Arial Black"/>
                <a:cs typeface="Arial Black"/>
              </a:rPr>
              <a:t> </a:t>
            </a:r>
            <a:r>
              <a:rPr sz="1300" dirty="0">
                <a:latin typeface="Arial Black"/>
                <a:cs typeface="Arial Black"/>
              </a:rPr>
              <a:t>are</a:t>
            </a:r>
            <a:r>
              <a:rPr sz="1300" spc="-40" dirty="0">
                <a:latin typeface="Arial Black"/>
                <a:cs typeface="Arial Black"/>
              </a:rPr>
              <a:t> </a:t>
            </a:r>
            <a:r>
              <a:rPr sz="1300" spc="-7" dirty="0">
                <a:latin typeface="Arial Black"/>
                <a:cs typeface="Arial Black"/>
              </a:rPr>
              <a:t>here</a:t>
            </a:r>
            <a:r>
              <a:rPr sz="1300" spc="-40" dirty="0">
                <a:latin typeface="Arial Black"/>
                <a:cs typeface="Arial Black"/>
              </a:rPr>
              <a:t> </a:t>
            </a:r>
            <a:r>
              <a:rPr sz="1300" dirty="0">
                <a:latin typeface="Arial Black"/>
                <a:cs typeface="Arial Black"/>
              </a:rPr>
              <a:t>to</a:t>
            </a:r>
            <a:r>
              <a:rPr sz="1300" spc="-40" dirty="0">
                <a:latin typeface="Arial Black"/>
                <a:cs typeface="Arial Black"/>
              </a:rPr>
              <a:t> </a:t>
            </a:r>
            <a:r>
              <a:rPr sz="1300" dirty="0">
                <a:latin typeface="Arial Black"/>
                <a:cs typeface="Arial Black"/>
              </a:rPr>
              <a:t>truly</a:t>
            </a:r>
            <a:r>
              <a:rPr sz="1300" spc="-40" dirty="0">
                <a:latin typeface="Arial Black"/>
                <a:cs typeface="Arial Black"/>
              </a:rPr>
              <a:t> </a:t>
            </a:r>
            <a:r>
              <a:rPr sz="1300" spc="-47" dirty="0">
                <a:latin typeface="Arial Black"/>
                <a:cs typeface="Arial Black"/>
              </a:rPr>
              <a:t>explain</a:t>
            </a:r>
            <a:r>
              <a:rPr sz="1300" spc="-40" dirty="0">
                <a:latin typeface="Arial Black"/>
                <a:cs typeface="Arial Black"/>
              </a:rPr>
              <a:t> </a:t>
            </a:r>
            <a:r>
              <a:rPr sz="1300" dirty="0">
                <a:latin typeface="Arial Black"/>
                <a:cs typeface="Arial Black"/>
              </a:rPr>
              <a:t>the</a:t>
            </a:r>
            <a:r>
              <a:rPr sz="1300" spc="-40" dirty="0">
                <a:latin typeface="Arial Black"/>
                <a:cs typeface="Arial Black"/>
              </a:rPr>
              <a:t> </a:t>
            </a:r>
            <a:r>
              <a:rPr sz="1300" spc="-90" dirty="0">
                <a:latin typeface="Arial Black"/>
                <a:cs typeface="Arial Black"/>
              </a:rPr>
              <a:t>process</a:t>
            </a:r>
            <a:r>
              <a:rPr sz="1300" spc="-17" dirty="0">
                <a:latin typeface="Arial Black"/>
                <a:cs typeface="Arial Black"/>
              </a:rPr>
              <a:t> </a:t>
            </a:r>
            <a:r>
              <a:rPr sz="1300" dirty="0">
                <a:latin typeface="Arial Black"/>
                <a:cs typeface="Arial Black"/>
              </a:rPr>
              <a:t>the</a:t>
            </a:r>
            <a:r>
              <a:rPr sz="1300" spc="-40" dirty="0">
                <a:latin typeface="Arial Black"/>
                <a:cs typeface="Arial Black"/>
              </a:rPr>
              <a:t> </a:t>
            </a:r>
            <a:r>
              <a:rPr sz="1300" spc="-13" dirty="0">
                <a:latin typeface="Arial Black"/>
                <a:cs typeface="Arial Black"/>
              </a:rPr>
              <a:t>body</a:t>
            </a:r>
            <a:r>
              <a:rPr sz="1300" spc="-40" dirty="0">
                <a:latin typeface="Arial Black"/>
                <a:cs typeface="Arial Black"/>
              </a:rPr>
              <a:t> </a:t>
            </a:r>
            <a:r>
              <a:rPr sz="1300" spc="-76" dirty="0">
                <a:latin typeface="Arial Black"/>
                <a:cs typeface="Arial Black"/>
              </a:rPr>
              <a:t>goes</a:t>
            </a:r>
            <a:r>
              <a:rPr sz="1300" spc="-33" dirty="0">
                <a:latin typeface="Arial Black"/>
                <a:cs typeface="Arial Black"/>
              </a:rPr>
              <a:t> </a:t>
            </a:r>
            <a:r>
              <a:rPr sz="1300" spc="-7" dirty="0">
                <a:latin typeface="Arial Black"/>
                <a:cs typeface="Arial Black"/>
              </a:rPr>
              <a:t>through </a:t>
            </a:r>
            <a:r>
              <a:rPr sz="1300" dirty="0">
                <a:latin typeface="Arial Black"/>
                <a:cs typeface="Arial Black"/>
              </a:rPr>
              <a:t>during</a:t>
            </a:r>
            <a:r>
              <a:rPr sz="1300" spc="-33" dirty="0">
                <a:latin typeface="Arial Black"/>
                <a:cs typeface="Arial Black"/>
              </a:rPr>
              <a:t> </a:t>
            </a:r>
            <a:r>
              <a:rPr sz="1300" spc="-43" dirty="0">
                <a:latin typeface="Arial Black"/>
                <a:cs typeface="Arial Black"/>
              </a:rPr>
              <a:t>pregnancy,</a:t>
            </a:r>
            <a:r>
              <a:rPr sz="1300" spc="-30" dirty="0">
                <a:latin typeface="Arial Black"/>
                <a:cs typeface="Arial Black"/>
              </a:rPr>
              <a:t> </a:t>
            </a:r>
            <a:r>
              <a:rPr sz="1300" spc="-20" dirty="0">
                <a:latin typeface="Arial Black"/>
                <a:cs typeface="Arial Black"/>
              </a:rPr>
              <a:t>childbirth,</a:t>
            </a:r>
            <a:r>
              <a:rPr sz="1300" spc="-30" dirty="0">
                <a:latin typeface="Arial Black"/>
                <a:cs typeface="Arial Black"/>
              </a:rPr>
              <a:t> </a:t>
            </a:r>
            <a:r>
              <a:rPr sz="1300" dirty="0">
                <a:latin typeface="Arial Black"/>
                <a:cs typeface="Arial Black"/>
              </a:rPr>
              <a:t>and</a:t>
            </a:r>
            <a:r>
              <a:rPr sz="1300" spc="-30" dirty="0">
                <a:latin typeface="Arial Black"/>
                <a:cs typeface="Arial Black"/>
              </a:rPr>
              <a:t> </a:t>
            </a:r>
            <a:r>
              <a:rPr sz="1300" spc="-23" dirty="0">
                <a:latin typeface="Arial Black"/>
                <a:cs typeface="Arial Black"/>
              </a:rPr>
              <a:t>postpartum,</a:t>
            </a:r>
            <a:r>
              <a:rPr sz="1300" spc="-30" dirty="0">
                <a:latin typeface="Arial Black"/>
                <a:cs typeface="Arial Black"/>
              </a:rPr>
              <a:t> </a:t>
            </a:r>
            <a:r>
              <a:rPr sz="1300" dirty="0">
                <a:latin typeface="Arial Black"/>
                <a:cs typeface="Arial Black"/>
              </a:rPr>
              <a:t>as</a:t>
            </a:r>
            <a:r>
              <a:rPr sz="1300" spc="-30" dirty="0">
                <a:latin typeface="Arial Black"/>
                <a:cs typeface="Arial Black"/>
              </a:rPr>
              <a:t> </a:t>
            </a:r>
            <a:r>
              <a:rPr sz="1300" dirty="0">
                <a:latin typeface="Arial Black"/>
                <a:cs typeface="Arial Black"/>
              </a:rPr>
              <a:t>well</a:t>
            </a:r>
            <a:r>
              <a:rPr sz="1300" spc="-30" dirty="0">
                <a:latin typeface="Arial Black"/>
                <a:cs typeface="Arial Black"/>
              </a:rPr>
              <a:t> </a:t>
            </a:r>
            <a:r>
              <a:rPr sz="1300" dirty="0">
                <a:latin typeface="Arial Black"/>
                <a:cs typeface="Arial Black"/>
              </a:rPr>
              <a:t>as</a:t>
            </a:r>
            <a:r>
              <a:rPr sz="1300" spc="-30" dirty="0">
                <a:latin typeface="Arial Black"/>
                <a:cs typeface="Arial Black"/>
              </a:rPr>
              <a:t> </a:t>
            </a:r>
            <a:r>
              <a:rPr sz="1300" spc="-67" dirty="0">
                <a:latin typeface="Arial Black"/>
                <a:cs typeface="Arial Black"/>
              </a:rPr>
              <a:t>complications </a:t>
            </a:r>
            <a:r>
              <a:rPr sz="1300" dirty="0">
                <a:latin typeface="Arial Black"/>
                <a:cs typeface="Arial Black"/>
              </a:rPr>
              <a:t>that</a:t>
            </a:r>
            <a:r>
              <a:rPr sz="1300" spc="-13" dirty="0">
                <a:latin typeface="Arial Black"/>
                <a:cs typeface="Arial Black"/>
              </a:rPr>
              <a:t> </a:t>
            </a:r>
            <a:r>
              <a:rPr sz="1300" spc="-7" dirty="0">
                <a:latin typeface="Arial Black"/>
                <a:cs typeface="Arial Black"/>
              </a:rPr>
              <a:t>can</a:t>
            </a:r>
            <a:r>
              <a:rPr sz="1300" spc="-10" dirty="0">
                <a:latin typeface="Arial Black"/>
                <a:cs typeface="Arial Black"/>
              </a:rPr>
              <a:t> </a:t>
            </a:r>
            <a:r>
              <a:rPr sz="1300" spc="-27" dirty="0">
                <a:latin typeface="Arial Black"/>
                <a:cs typeface="Arial Black"/>
              </a:rPr>
              <a:t>arise.</a:t>
            </a:r>
            <a:r>
              <a:rPr sz="1300" spc="-10" dirty="0">
                <a:latin typeface="Arial Black"/>
                <a:cs typeface="Arial Black"/>
              </a:rPr>
              <a:t> </a:t>
            </a:r>
            <a:r>
              <a:rPr sz="1300" dirty="0">
                <a:latin typeface="Arial Black"/>
                <a:cs typeface="Arial Black"/>
              </a:rPr>
              <a:t>We</a:t>
            </a:r>
            <a:r>
              <a:rPr sz="1300" spc="-10" dirty="0">
                <a:latin typeface="Arial Black"/>
                <a:cs typeface="Arial Black"/>
              </a:rPr>
              <a:t> </a:t>
            </a:r>
            <a:r>
              <a:rPr sz="1300" spc="-17" dirty="0">
                <a:latin typeface="Arial Black"/>
                <a:cs typeface="Arial Black"/>
              </a:rPr>
              <a:t>also</a:t>
            </a:r>
            <a:r>
              <a:rPr sz="1300" spc="-10" dirty="0">
                <a:latin typeface="Arial Black"/>
                <a:cs typeface="Arial Black"/>
              </a:rPr>
              <a:t> </a:t>
            </a:r>
            <a:r>
              <a:rPr sz="1300" spc="-37" dirty="0">
                <a:latin typeface="Arial Black"/>
                <a:cs typeface="Arial Black"/>
              </a:rPr>
              <a:t>focus</a:t>
            </a:r>
            <a:r>
              <a:rPr sz="1300" spc="-10" dirty="0">
                <a:latin typeface="Arial Black"/>
                <a:cs typeface="Arial Black"/>
              </a:rPr>
              <a:t> </a:t>
            </a:r>
            <a:r>
              <a:rPr sz="1300" dirty="0">
                <a:latin typeface="Arial Black"/>
                <a:cs typeface="Arial Black"/>
              </a:rPr>
              <a:t>on</a:t>
            </a:r>
            <a:r>
              <a:rPr sz="1300" spc="-10" dirty="0">
                <a:latin typeface="Arial Black"/>
                <a:cs typeface="Arial Black"/>
              </a:rPr>
              <a:t> </a:t>
            </a:r>
            <a:r>
              <a:rPr sz="1300" dirty="0">
                <a:latin typeface="Arial Black"/>
                <a:cs typeface="Arial Black"/>
              </a:rPr>
              <a:t>the</a:t>
            </a:r>
            <a:r>
              <a:rPr sz="1300" spc="-10" dirty="0">
                <a:latin typeface="Arial Black"/>
                <a:cs typeface="Arial Black"/>
              </a:rPr>
              <a:t> </a:t>
            </a:r>
            <a:r>
              <a:rPr sz="1300" dirty="0">
                <a:latin typeface="Arial Black"/>
                <a:cs typeface="Arial Black"/>
              </a:rPr>
              <a:t>mental</a:t>
            </a:r>
            <a:r>
              <a:rPr sz="1300" spc="-10" dirty="0">
                <a:latin typeface="Arial Black"/>
                <a:cs typeface="Arial Black"/>
              </a:rPr>
              <a:t> </a:t>
            </a:r>
            <a:r>
              <a:rPr sz="1300" dirty="0">
                <a:latin typeface="Arial Black"/>
                <a:cs typeface="Arial Black"/>
              </a:rPr>
              <a:t>health</a:t>
            </a:r>
            <a:r>
              <a:rPr sz="1300" spc="-10" dirty="0">
                <a:latin typeface="Arial Black"/>
                <a:cs typeface="Arial Black"/>
              </a:rPr>
              <a:t> </a:t>
            </a:r>
            <a:r>
              <a:rPr sz="1300" spc="-67" dirty="0">
                <a:latin typeface="Arial Black"/>
                <a:cs typeface="Arial Black"/>
              </a:rPr>
              <a:t>aspect</a:t>
            </a:r>
            <a:r>
              <a:rPr sz="1300" spc="-10" dirty="0">
                <a:latin typeface="Arial Black"/>
                <a:cs typeface="Arial Black"/>
              </a:rPr>
              <a:t> </a:t>
            </a:r>
            <a:r>
              <a:rPr sz="1300" dirty="0">
                <a:latin typeface="Arial Black"/>
                <a:cs typeface="Arial Black"/>
              </a:rPr>
              <a:t>of</a:t>
            </a:r>
            <a:r>
              <a:rPr sz="1300" spc="-13" dirty="0">
                <a:latin typeface="Arial Black"/>
                <a:cs typeface="Arial Black"/>
              </a:rPr>
              <a:t> </a:t>
            </a:r>
            <a:r>
              <a:rPr sz="1300" spc="-20" dirty="0">
                <a:latin typeface="Arial Black"/>
                <a:cs typeface="Arial Black"/>
              </a:rPr>
              <a:t>maternal </a:t>
            </a:r>
            <a:r>
              <a:rPr sz="1300" spc="-7" dirty="0">
                <a:latin typeface="Arial Black"/>
                <a:cs typeface="Arial Black"/>
              </a:rPr>
              <a:t>health.</a:t>
            </a:r>
            <a:endParaRPr sz="1300">
              <a:latin typeface="Arial Black"/>
              <a:cs typeface="Arial Black"/>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project_x_autumn">
  <a:themeElements>
    <a:clrScheme name="LCHD Theme">
      <a:dk1>
        <a:sysClr val="windowText" lastClr="000000"/>
      </a:dk1>
      <a:lt1>
        <a:sysClr val="window" lastClr="FFFFFF"/>
      </a:lt1>
      <a:dk2>
        <a:srgbClr val="385483"/>
      </a:dk2>
      <a:lt2>
        <a:srgbClr val="DBEFF9"/>
      </a:lt2>
      <a:accent1>
        <a:srgbClr val="385483"/>
      </a:accent1>
      <a:accent2>
        <a:srgbClr val="307FE2"/>
      </a:accent2>
      <a:accent3>
        <a:srgbClr val="27BFD6"/>
      </a:accent3>
      <a:accent4>
        <a:srgbClr val="17BE46"/>
      </a:accent4>
      <a:accent5>
        <a:srgbClr val="64A70B"/>
      </a:accent5>
      <a:accent6>
        <a:srgbClr val="4A7D08"/>
      </a:accent6>
      <a:hlink>
        <a:srgbClr val="307FE2"/>
      </a:hlink>
      <a:folHlink>
        <a:srgbClr val="307FE2"/>
      </a:folHlink>
    </a:clrScheme>
    <a:fontScheme name="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project_x_autumn" id="{1BEE7F27-BC81-4D2A-9B38-26E6A2A87FA3}" vid="{079B0DD6-761E-4CBB-A383-583DABBD402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4</TotalTime>
  <Words>3326</Words>
  <Application>Microsoft Office PowerPoint</Application>
  <PresentationFormat>Widescreen</PresentationFormat>
  <Paragraphs>385</Paragraphs>
  <Slides>48</Slides>
  <Notes>14</Notes>
  <HiddenSlides>0</HiddenSlides>
  <MMClips>0</MMClips>
  <ScaleCrop>false</ScaleCrop>
  <HeadingPairs>
    <vt:vector size="4" baseType="variant">
      <vt:variant>
        <vt:lpstr>Theme</vt:lpstr>
      </vt:variant>
      <vt:variant>
        <vt:i4>7</vt:i4>
      </vt:variant>
      <vt:variant>
        <vt:lpstr>Slide Titles</vt:lpstr>
      </vt:variant>
      <vt:variant>
        <vt:i4>48</vt:i4>
      </vt:variant>
    </vt:vector>
  </HeadingPairs>
  <TitlesOfParts>
    <vt:vector size="55" baseType="lpstr">
      <vt:lpstr>office theme</vt:lpstr>
      <vt:lpstr>1_Office Theme</vt:lpstr>
      <vt:lpstr>1_Office Theme</vt:lpstr>
      <vt:lpstr>Retrospect</vt:lpstr>
      <vt:lpstr>2_Office Theme</vt:lpstr>
      <vt:lpstr>1_project_x_autumn</vt:lpstr>
      <vt:lpstr>Office Theme</vt:lpstr>
      <vt:lpstr>Doula and Home Visting Services Panel: Building Bridges to Community Partners to Improve Care</vt:lpstr>
      <vt:lpstr>Doula and Home Visiting Services Panelists</vt:lpstr>
      <vt:lpstr>Brenda Reyes, RN, CLC</vt:lpstr>
      <vt:lpstr>PowerPoint Presentation</vt:lpstr>
      <vt:lpstr>PowerPoint Presentation</vt:lpstr>
      <vt:lpstr>PowerPoint Presentation</vt:lpstr>
      <vt:lpstr>Marvella Ying, BSBA, CD, CBE</vt:lpstr>
      <vt:lpstr>THE DOULA LAB</vt:lpstr>
      <vt:lpstr>About The Doula Lab</vt:lpstr>
      <vt:lpstr>Vision &amp; Mission</vt:lpstr>
      <vt:lpstr>Our Goal</vt:lpstr>
      <vt:lpstr>Doula Lab Services</vt:lpstr>
      <vt:lpstr>Doula Lab Services</vt:lpstr>
      <vt:lpstr>Doula Training/ Birth Associate Training</vt:lpstr>
      <vt:lpstr>What is a Doula?</vt:lpstr>
      <vt:lpstr>Training</vt:lpstr>
      <vt:lpstr>Our Founder</vt:lpstr>
      <vt:lpstr>Meet Our Team</vt:lpstr>
      <vt:lpstr>Help Us Save Lives</vt:lpstr>
      <vt:lpstr>“GET YOU A DOULA SIS”</vt:lpstr>
      <vt:lpstr>Damaris Montano, MPH, BSN, RN</vt:lpstr>
      <vt:lpstr>Family Case Management </vt:lpstr>
      <vt:lpstr>Family Case Management</vt:lpstr>
      <vt:lpstr>Purpose</vt:lpstr>
      <vt:lpstr>Assessments </vt:lpstr>
      <vt:lpstr>Barriers to Services</vt:lpstr>
      <vt:lpstr>Interventions</vt:lpstr>
      <vt:lpstr>Education</vt:lpstr>
      <vt:lpstr>Referrals</vt:lpstr>
      <vt:lpstr>HRFCM</vt:lpstr>
      <vt:lpstr>Meeting Our Goal</vt:lpstr>
      <vt:lpstr>PowerPoint Presentation</vt:lpstr>
      <vt:lpstr>Kathryn Kaintz Bender, BSN, RN</vt:lpstr>
      <vt:lpstr>Private – Public Partnership</vt:lpstr>
      <vt:lpstr>PowerPoint Presentation</vt:lpstr>
      <vt:lpstr>PowerPoint Presentation</vt:lpstr>
      <vt:lpstr>Program Goals</vt:lpstr>
      <vt:lpstr>The Family Connects Model  </vt:lpstr>
      <vt:lpstr>Family Connects Chicago: A Systems Solution</vt:lpstr>
      <vt:lpstr>PowerPoint Presentation</vt:lpstr>
      <vt:lpstr>PowerPoint Presentation</vt:lpstr>
      <vt:lpstr>Components of Planning</vt:lpstr>
      <vt:lpstr> What is Assessed During a 2-hour Visit: 12 Factors Empirically Linked to Family Risk</vt:lpstr>
      <vt:lpstr>Examples of how Family Connects Positively Impacts Morbidity and Mortality</vt:lpstr>
      <vt:lpstr>Patient Stories</vt:lpstr>
      <vt:lpstr>Patient Stories</vt:lpstr>
      <vt:lpstr>PowerPoint Presentation</vt:lpstr>
      <vt:lpstr>Panel Discussion  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Ann</cp:lastModifiedBy>
  <cp:revision>497</cp:revision>
  <dcterms:created xsi:type="dcterms:W3CDTF">2024-05-11T05:47:40Z</dcterms:created>
  <dcterms:modified xsi:type="dcterms:W3CDTF">2024-05-28T14:47:32Z</dcterms:modified>
</cp:coreProperties>
</file>